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50" r:id="rId7"/>
    <p:sldMasterId id="2147483791" r:id="rId8"/>
  </p:sldMasterIdLst>
  <p:notesMasterIdLst>
    <p:notesMasterId r:id="rId26"/>
  </p:notesMasterIdLst>
  <p:handoutMasterIdLst>
    <p:handoutMasterId r:id="rId27"/>
  </p:handoutMasterIdLst>
  <p:sldIdLst>
    <p:sldId id="2134806196" r:id="rId9"/>
    <p:sldId id="256" r:id="rId10"/>
    <p:sldId id="2134806209" r:id="rId11"/>
    <p:sldId id="263" r:id="rId12"/>
    <p:sldId id="2134806197" r:id="rId13"/>
    <p:sldId id="2134806198" r:id="rId14"/>
    <p:sldId id="2134806203" r:id="rId15"/>
    <p:sldId id="2134806204" r:id="rId16"/>
    <p:sldId id="2134806202" r:id="rId17"/>
    <p:sldId id="2134806205" r:id="rId18"/>
    <p:sldId id="2134806206" r:id="rId19"/>
    <p:sldId id="2134806199" r:id="rId20"/>
    <p:sldId id="2134806200" r:id="rId21"/>
    <p:sldId id="2134806201" r:id="rId22"/>
    <p:sldId id="2134806208" r:id="rId23"/>
    <p:sldId id="2134806207" r:id="rId24"/>
    <p:sldId id="257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A7F520-62C4-404F-B877-9D0A85B660E3}" v="37" dt="2024-09-07T00:43:10.7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0884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852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25" d="100"/>
          <a:sy n="125" d="100"/>
        </p:scale>
        <p:origin x="395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3138C80-322F-4872-A74B-35F5E63DC6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2427CD-9A30-445E-B4FB-643712D035F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70A19-FEE8-4AAA-9577-F803BD9639E1}" type="datetimeFigureOut">
              <a:rPr lang="en-GB" smtClean="0">
                <a:latin typeface="Arial" panose="020B0604020202020204" pitchFamily="34" charset="0"/>
              </a:rPr>
              <a:t>07/09/2024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76E434-984B-4DDF-8EDB-2AADBB24B2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3AD7EC-390A-40B6-873B-A390B3D9C9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4982AE-0739-4150-9188-19CE046D967B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87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7644E17-EA04-544A-ABFE-4B5BB6BF3E06}" type="datetimeFigureOut">
              <a:rPr lang="en-US" smtClean="0"/>
              <a:pPr/>
              <a:t>2024-09-0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8E4052E8-B55F-EE45-B6E5-FD31CE321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00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4D4A87D-81F6-4025-BA72-0111EBD4BF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216000" y="594000"/>
            <a:ext cx="6732000" cy="4464000"/>
          </a:xfrm>
          <a:solidFill>
            <a:srgbClr val="E3E3E5"/>
          </a:solidFill>
        </p:spPr>
        <p:txBody>
          <a:bodyPr lIns="0" tIns="72000" rIns="0" bIns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40400" y="2836800"/>
            <a:ext cx="4280400" cy="1015200"/>
          </a:xfrm>
        </p:spPr>
        <p:txBody>
          <a:bodyPr lIns="0" tIns="0" rIns="0" bIns="0" anchor="t" anchorCtr="0"/>
          <a:lstStyle>
            <a:lvl1pPr algn="l">
              <a:defRPr sz="3300" cap="none" baseline="0">
                <a:solidFill>
                  <a:srgbClr val="1F3144"/>
                </a:solidFill>
              </a:defRPr>
            </a:lvl1pPr>
          </a:lstStyle>
          <a:p>
            <a:r>
              <a:rPr lang="en-GB" dirty="0"/>
              <a:t>Title slide: 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36400" y="4095859"/>
            <a:ext cx="3884400" cy="2520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rgbClr val="005AFF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Enter nam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1C17F2-EEA8-4274-8DBC-2D5D86A7406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36400" y="4342042"/>
            <a:ext cx="3884400" cy="252000"/>
          </a:xfrm>
        </p:spPr>
        <p:txBody>
          <a:bodyPr lIns="0" tIns="0" rIns="0" bIns="0"/>
          <a:lstStyle>
            <a:lvl1pPr marL="0" indent="0" algn="l">
              <a:buNone/>
              <a:defRPr sz="1600">
                <a:solidFill>
                  <a:srgbClr val="1F314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department here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13E46AB2-46A4-400E-B8E1-55181C350E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36400" y="4822828"/>
            <a:ext cx="38844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600">
                <a:solidFill>
                  <a:srgbClr val="1F3144"/>
                </a:solidFill>
              </a:defRPr>
            </a:lvl1pPr>
          </a:lstStyle>
          <a:p>
            <a:fld id="{BDE9B4F4-0378-477E-ABE9-9A63F26BA5AA}" type="datetime4">
              <a:rPr lang="en-GB" smtClean="0"/>
              <a:pPr/>
              <a:t>07 September 2024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87CDAFB-F162-F815-209E-9A34D39FF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998" y="6516925"/>
            <a:ext cx="1771200" cy="95311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34CD788A-2633-F30C-022F-9B2D44FF8B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484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7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D5F8E3-A647-4AF0-A18C-A4FA7DA40185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 marL="0" indent="0">
              <a:buFont typeface="Arial" panose="020B0604020202020204" pitchFamily="34" charset="0"/>
              <a:buNone/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Summary: 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2FB4C5-0710-47AF-ABA5-F5B6C082D1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52938" y="1974073"/>
            <a:ext cx="1481805" cy="543084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36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04E7A61-4EBF-4E2D-860D-93018C7A6F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634743" y="1974850"/>
            <a:ext cx="9274779" cy="54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16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6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6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0EAE2AFA-5293-4D58-B9DA-E4668C6918A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52938" y="2778784"/>
            <a:ext cx="1481805" cy="543084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36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0257FA15-DEBC-4684-9FBF-737C7DC0B4B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634744" y="2779561"/>
            <a:ext cx="9274778" cy="54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16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6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6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6A0FD4E4-BF90-4415-957A-420418651F6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52938" y="3589236"/>
            <a:ext cx="1481805" cy="543084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36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D8A128BA-880A-48D2-858A-843440C3AE2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634744" y="3590013"/>
            <a:ext cx="9274778" cy="54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16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6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6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8F99537-918B-4293-B1AA-6E3E74743C5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52938" y="4389336"/>
            <a:ext cx="1481805" cy="543084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36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7569BE80-597B-4F22-B7AB-ED57E13C7DB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634744" y="4390113"/>
            <a:ext cx="9274778" cy="54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16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6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6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0C384770-9E59-4B2A-AEE2-B32B3D8EE82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52938" y="5205059"/>
            <a:ext cx="1481805" cy="543084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36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76ADB491-2FD9-4251-A00E-10CB354F4B8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634744" y="5203454"/>
            <a:ext cx="9274778" cy="54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16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6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6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FF8C2E93-5773-4BBD-AB4C-D85954775B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470840" y="2516650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4" name="Text Placeholder 8">
            <a:extLst>
              <a:ext uri="{FF2B5EF4-FFF2-40B4-BE49-F238E27FC236}">
                <a16:creationId xmlns:a16="http://schemas.microsoft.com/office/drawing/2014/main" id="{AFFF061E-CE33-4B3D-9114-EAC2AE2F721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470840" y="3320961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32495B6D-8106-46F2-9BA5-814E1BD0722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70840" y="4133613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A7B80B4E-AAE5-47AE-983D-D1798B3FFA6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470840" y="4933713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FF2232CC-B545-4A16-9B9D-2EF813EAF97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470840" y="5748143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56FC4C7A-F32A-46A4-9DDB-E7F7E70987E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7" name="Text Placeholder Logo">
            <a:extLst>
              <a:ext uri="{FF2B5EF4-FFF2-40B4-BE49-F238E27FC236}">
                <a16:creationId xmlns:a16="http://schemas.microsoft.com/office/drawing/2014/main" id="{97C55C0E-3CEB-4B07-ADC5-06556808DA6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C6E43BC4-C48D-43BD-BA91-42738DA9EC59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B5C65913-DD10-433E-94BE-74F63AF43C38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9EBC7C4-8F39-4A97-8993-881979F89C2D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66A0F40-0C0B-4342-AB3C-58F62AAD2DEB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0789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oint w/Ic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F9EA673-B8B2-479F-9BFB-7B96D51CE312}"/>
              </a:ext>
            </a:extLst>
          </p:cNvPr>
          <p:cNvSpPr/>
          <p:nvPr userDrawn="1"/>
        </p:nvSpPr>
        <p:spPr>
          <a:xfrm>
            <a:off x="3176" y="3176"/>
            <a:ext cx="12188823" cy="6851648"/>
          </a:xfrm>
          <a:prstGeom prst="rect">
            <a:avLst/>
          </a:prstGeom>
          <a:solidFill>
            <a:srgbClr val="1F3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70FBF02-CE78-457D-B72E-C2C2A7E3FBEC}"/>
              </a:ext>
            </a:extLst>
          </p:cNvPr>
          <p:cNvSpPr/>
          <p:nvPr userDrawn="1"/>
        </p:nvSpPr>
        <p:spPr>
          <a:xfrm>
            <a:off x="1" y="3176"/>
            <a:ext cx="12192000" cy="6858001"/>
          </a:xfrm>
          <a:prstGeom prst="rect">
            <a:avLst/>
          </a:prstGeom>
          <a:solidFill>
            <a:srgbClr val="37424A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5488" y="1150533"/>
            <a:ext cx="3587852" cy="395305"/>
          </a:xfrm>
        </p:spPr>
        <p:txBody>
          <a:bodyPr anchor="b"/>
          <a:lstStyle>
            <a:lvl1pPr algn="ctr"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901548-6562-4F9D-86D7-EFC0745A78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6887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6824" y="1150533"/>
            <a:ext cx="3587852" cy="395305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cap="none" baseline="0" dirty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Enter text her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2923440E-1E98-4A23-AFB5-16C717AA8A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06238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D8A0A111-0A6D-4DE9-AAD2-9B1F7378CF7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38160" y="1150533"/>
            <a:ext cx="3587852" cy="395305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cap="none" baseline="0" dirty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Enter text her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50671B03-4BB4-44B1-AB72-F60797D92BD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35589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73DFFA4-EBA2-4403-BC9D-914201D02AA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74693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9FAA71F2-C67E-48DA-B67A-B236284509A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8057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16B0264-013F-4333-843A-AE569E5B328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41421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3B7FE4D-0778-4EAA-A363-D03799F80C1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65104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A68B0964-3874-486B-8DE2-409BF0FE93D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90000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6B5BEAF-07A4-46CA-9150-B0BDC34D391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23806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4C35728A-B42D-4EF1-8FAF-47F142BFE64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5400000">
            <a:off x="1620439" y="3455662"/>
            <a:ext cx="489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8299F0B9-6C8C-4187-9176-986DB31B93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5400000">
            <a:off x="5671418" y="3455662"/>
            <a:ext cx="489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FC71F687-9860-4508-AF47-0D4133BF1D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2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A0978D-E938-493B-8F78-3DDA275B4E0D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D58305-A0F9-42E0-8ADC-FACB79D90F5F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BE8DF7-C684-4409-A6BB-9F4B59758018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BC3A53A-89AC-4514-9E86-8827C0DA89B4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88BC99B9-7FBC-2E85-0A4A-41BF0FE3F7A9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3718436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oint w/Icons Blue">
    <p:bg>
      <p:bgPr>
        <a:solidFill>
          <a:srgbClr val="005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5488" y="1150533"/>
            <a:ext cx="3587852" cy="395305"/>
          </a:xfrm>
        </p:spPr>
        <p:txBody>
          <a:bodyPr anchor="b"/>
          <a:lstStyle>
            <a:lvl1pPr algn="ctr"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901548-6562-4F9D-86D7-EFC0745A78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6887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06824" y="1150533"/>
            <a:ext cx="3587852" cy="395305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cap="none" baseline="0" dirty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Enter text her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2923440E-1E98-4A23-AFB5-16C717AA8A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06238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D8A0A111-0A6D-4DE9-AAD2-9B1F7378CF7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38160" y="1150533"/>
            <a:ext cx="3587852" cy="395305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cap="none" baseline="0" dirty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Enter text her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50671B03-4BB4-44B1-AB72-F60797D92BD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35589" y="3210524"/>
            <a:ext cx="3588434" cy="2364784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73DFFA4-EBA2-4403-BC9D-914201D02AA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74693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9FAA71F2-C67E-48DA-B67A-B236284509A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8057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16B0264-013F-4333-843A-AE569E5B328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414214" y="1977303"/>
            <a:ext cx="1035613" cy="1030585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endParaRPr lang="en-GB" dirty="0"/>
          </a:p>
          <a:p>
            <a:pPr lvl="0"/>
            <a:r>
              <a:rPr lang="en-GB" dirty="0"/>
              <a:t>Paste icon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3B7FE4D-0778-4EAA-A363-D03799F80C1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65104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A68B0964-3874-486B-8DE2-409BF0FE93D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90000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D6B5BEAF-07A4-46CA-9150-B0BDC34D391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23806" y="176227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4C35728A-B42D-4EF1-8FAF-47F142BFE64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5400000">
            <a:off x="1620439" y="3455662"/>
            <a:ext cx="489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8299F0B9-6C8C-4187-9176-986DB31B93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5400000">
            <a:off x="5671418" y="3455662"/>
            <a:ext cx="489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Logo">
            <a:extLst>
              <a:ext uri="{FF2B5EF4-FFF2-40B4-BE49-F238E27FC236}">
                <a16:creationId xmlns:a16="http://schemas.microsoft.com/office/drawing/2014/main" id="{11A8E156-1004-429E-BCAA-3D4F2D62BE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2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EB0C51-B420-4766-A7C4-F95F8BDEFAE2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6B448B-922D-4D6C-A205-751B0A1D55AF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824ACB4-A8B7-45AA-A634-44343AE4C891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6F16591-2AEC-45F6-A9F5-D5CE7CCED73F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976DDFF1-B482-0479-4A84-DDD2530E49EC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3761901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 w/Icons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8D721AF1-C59A-4E2C-8FE1-F5CFE4B7A00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84067" y="2543098"/>
            <a:ext cx="2374487" cy="330756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6B6586BB-966D-4E11-87D4-C8E06DCCB9C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602226" y="3048701"/>
            <a:ext cx="1339200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100" smtClean="0">
                <a:solidFill>
                  <a:schemeClr val="tx1"/>
                </a:solidFill>
              </a:defRPr>
            </a:lvl1pPr>
            <a:lvl2pPr algn="l">
              <a:defRPr lang="en-US" sz="1100" smtClean="0">
                <a:solidFill>
                  <a:schemeClr val="bg1"/>
                </a:solidFill>
              </a:defRPr>
            </a:lvl2pPr>
            <a:lvl3pPr algn="l">
              <a:defRPr lang="en-US" sz="11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F3C7B097-80BB-4D96-8A90-B46FA47755F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908550" y="2543098"/>
            <a:ext cx="2376000" cy="331200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FC340FDD-3427-4E6B-AB80-304433A5E86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25678" y="3046332"/>
            <a:ext cx="1340644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000" smtClean="0">
                <a:solidFill>
                  <a:schemeClr val="tx1"/>
                </a:solidFill>
              </a:defRPr>
            </a:lvl1pPr>
            <a:lvl2pPr marL="191995" indent="0" algn="l">
              <a:buNone/>
              <a:defRPr lang="en-US" sz="1000" smtClean="0">
                <a:solidFill>
                  <a:schemeClr val="bg1"/>
                </a:solidFill>
              </a:defRPr>
            </a:lvl2pPr>
            <a:lvl3pPr algn="l">
              <a:defRPr lang="en-US" sz="10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2330F18E-42CF-42E9-AD55-DA8C865B939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33446" y="2543750"/>
            <a:ext cx="2376000" cy="331200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089DBBD-7893-410D-ABBF-681D1A2B51EE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52018" y="3051203"/>
            <a:ext cx="1339200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100" smtClean="0">
                <a:solidFill>
                  <a:schemeClr val="tx1"/>
                </a:solidFill>
              </a:defRPr>
            </a:lvl1pPr>
            <a:lvl2pPr algn="l">
              <a:defRPr lang="en-US" sz="1100" smtClean="0">
                <a:solidFill>
                  <a:schemeClr val="bg1"/>
                </a:solidFill>
              </a:defRPr>
            </a:lvl2pPr>
            <a:lvl3pPr algn="l">
              <a:defRPr lang="en-US" sz="11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39D983C3-FFC0-43E1-93F8-F562E0D723A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84067" y="4939198"/>
            <a:ext cx="2376000" cy="331200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756D9E83-FEFE-4CBB-946B-CE7B4D3B77B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602226" y="5442336"/>
            <a:ext cx="1339200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100" smtClean="0">
                <a:solidFill>
                  <a:schemeClr val="tx1"/>
                </a:solidFill>
              </a:defRPr>
            </a:lvl1pPr>
            <a:lvl2pPr algn="l">
              <a:defRPr lang="en-US" sz="1100" smtClean="0">
                <a:solidFill>
                  <a:schemeClr val="bg1"/>
                </a:solidFill>
              </a:defRPr>
            </a:lvl2pPr>
            <a:lvl3pPr algn="l">
              <a:defRPr lang="en-US" sz="11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21F49BD4-5AE8-4B8F-9642-177BDD72610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908550" y="4944810"/>
            <a:ext cx="2376000" cy="331200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BF1F6D7-C453-41DA-A9FB-3543058E892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25678" y="5444067"/>
            <a:ext cx="1339200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100" smtClean="0">
                <a:solidFill>
                  <a:schemeClr val="tx1"/>
                </a:solidFill>
              </a:defRPr>
            </a:lvl1pPr>
            <a:lvl2pPr marL="191995" indent="0" algn="l">
              <a:buNone/>
              <a:defRPr lang="en-US" sz="1100" smtClean="0">
                <a:solidFill>
                  <a:schemeClr val="bg1"/>
                </a:solidFill>
              </a:defRPr>
            </a:lvl2pPr>
            <a:lvl3pPr algn="l">
              <a:defRPr lang="en-US" sz="11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0C435AF2-4816-4C69-87F1-DFBC4EE08678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732896" y="4944810"/>
            <a:ext cx="2376000" cy="331200"/>
          </a:xfr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88" name="Text Placeholder 7">
            <a:extLst>
              <a:ext uri="{FF2B5EF4-FFF2-40B4-BE49-F238E27FC236}">
                <a16:creationId xmlns:a16="http://schemas.microsoft.com/office/drawing/2014/main" id="{C961C735-190F-47D5-90DF-F7EF742DBC95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252018" y="5442336"/>
            <a:ext cx="1339200" cy="504000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ctr">
              <a:buNone/>
              <a:defRPr lang="en-US" sz="1100" smtClean="0">
                <a:solidFill>
                  <a:schemeClr val="tx1"/>
                </a:solidFill>
              </a:defRPr>
            </a:lvl1pPr>
            <a:lvl2pPr algn="l">
              <a:defRPr lang="en-US" sz="1100" smtClean="0">
                <a:solidFill>
                  <a:schemeClr val="bg1"/>
                </a:solidFill>
              </a:defRPr>
            </a:lvl2pPr>
            <a:lvl3pPr algn="l">
              <a:defRPr lang="en-US" sz="11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1541E635-AE9C-4DF4-992A-A6FC2040A10A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901050" y="1657350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B77C194-96C9-46FA-A75D-0A03ED018DE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5728399" y="1657350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1B03535-6C3F-4E99-970F-8056DBC8952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9555748" y="1657350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2D17AB4C-B0DE-40FE-8BF7-128CEA9FCC64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901050" y="4051711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53CBA5AE-489F-4726-9A31-EC01B0FEA714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728399" y="4051711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EDCF74BD-EC58-4244-A4FB-DBD5AD45232F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9555748" y="4051711"/>
            <a:ext cx="740107" cy="739328"/>
          </a:xfrm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  <a:lvl2pPr algn="ctr">
              <a:defRPr sz="800">
                <a:solidFill>
                  <a:schemeClr val="bg1"/>
                </a:solidFill>
              </a:defRPr>
            </a:lvl2pPr>
            <a:lvl3pPr algn="ctr">
              <a:defRPr sz="800">
                <a:solidFill>
                  <a:schemeClr val="bg1"/>
                </a:solidFill>
              </a:defRPr>
            </a:lvl3pPr>
            <a:lvl4pPr algn="ctr">
              <a:defRPr sz="800">
                <a:solidFill>
                  <a:schemeClr val="bg1"/>
                </a:solidFill>
              </a:defRPr>
            </a:lvl4pPr>
            <a:lvl5pPr algn="ctr"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ELETE THIS BOX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aste </a:t>
            </a:r>
            <a:br>
              <a:rPr lang="en-GB" dirty="0"/>
            </a:br>
            <a:r>
              <a:rPr lang="en-GB" dirty="0"/>
              <a:t>icon here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90D7073C-9259-4D2E-9018-9663C46D7836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1848103" y="2958534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FAF03EA5-68C3-4544-AB21-1672723CA803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848103" y="4865752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0E90EB7A-BDDD-42C5-809A-C2385DFB6DF6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673722" y="2958534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19AF5933-9B29-4672-A3B0-704D1644EE6A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673722" y="4865752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26E18E86-3A87-4F4C-AA1D-FBE82B7F05A5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502257" y="2958534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5587CA5D-9136-4398-BFC7-7A138279EB03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502257" y="4865752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63C034B5-BBE6-455A-BCD9-5358375E119A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27659" y="3798606"/>
            <a:ext cx="11340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06F203CA-1C1A-43FE-82FE-8E820394ACC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 rot="16200000">
            <a:off x="2024405" y="3836032"/>
            <a:ext cx="4104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F7449B47-8FF8-4A80-9A5E-15C43F36E10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 rot="16200000">
            <a:off x="6073883" y="3836032"/>
            <a:ext cx="4104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A57D45-1B7A-4F67-947E-88EC67450E85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327080" y="869140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9D46CF6-1978-443F-8B3A-7F64B1CA9F0F}"/>
              </a:ext>
            </a:extLst>
          </p:cNvPr>
          <p:cNvSpPr>
            <a:spLocks noGrp="1"/>
          </p:cNvSpPr>
          <p:nvPr>
            <p:ph type="dt" sz="half" idx="108"/>
          </p:nvPr>
        </p:nvSpPr>
        <p:spPr/>
        <p:txBody>
          <a:bodyPr/>
          <a:lstStyle/>
          <a:p>
            <a:fld id="{CCD8EEEB-24B1-47AB-AE8C-18CC50C11C54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270B5E8-EF75-45BD-9842-F6CD8C8D3818}"/>
              </a:ext>
            </a:extLst>
          </p:cNvPr>
          <p:cNvSpPr>
            <a:spLocks noGrp="1"/>
          </p:cNvSpPr>
          <p:nvPr>
            <p:ph type="ftr" sz="quarter" idx="10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E24020-A0F4-4445-AFE7-84AB77B7F8CD}"/>
              </a:ext>
            </a:extLst>
          </p:cNvPr>
          <p:cNvSpPr>
            <a:spLocks noGrp="1"/>
          </p:cNvSpPr>
          <p:nvPr>
            <p:ph type="sldNum" sz="quarter" idx="110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471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Image Preloaded">
    <p:bg>
      <p:bgPr>
        <a:solidFill>
          <a:srgbClr val="1F31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F9EA673-B8B2-479F-9BFB-7B96D51CE312}"/>
              </a:ext>
            </a:extLst>
          </p:cNvPr>
          <p:cNvSpPr/>
          <p:nvPr userDrawn="1"/>
        </p:nvSpPr>
        <p:spPr>
          <a:xfrm>
            <a:off x="3176" y="3176"/>
            <a:ext cx="12188823" cy="6851648"/>
          </a:xfrm>
          <a:prstGeom prst="rect">
            <a:avLst/>
          </a:prstGeom>
          <a:solidFill>
            <a:srgbClr val="1F3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F26AAD2-28D7-4D61-8D86-3091A0F937C5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3108" y="1333663"/>
            <a:ext cx="3587852" cy="395305"/>
          </a:xfrm>
        </p:spPr>
        <p:txBody>
          <a:bodyPr anchor="b"/>
          <a:lstStyle>
            <a:lvl1pPr algn="ctr"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901548-6562-4F9D-86D7-EFC0745A78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14507" y="2311400"/>
            <a:ext cx="3588434" cy="326390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2439" y="1333663"/>
            <a:ext cx="3587852" cy="395305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cap="none" baseline="0" dirty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Enter text her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2923440E-1E98-4A23-AFB5-16C717AA8A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881853" y="2311400"/>
            <a:ext cx="3588434" cy="326390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  <a:lvl6pPr algn="ctr">
              <a:defRPr sz="1400">
                <a:solidFill>
                  <a:schemeClr val="bg1"/>
                </a:solidFill>
              </a:defRPr>
            </a:lvl6pPr>
            <a:lvl7pPr algn="ctr">
              <a:defRPr sz="1400">
                <a:solidFill>
                  <a:schemeClr val="bg1"/>
                </a:solidFill>
              </a:defRPr>
            </a:lvl7pPr>
            <a:lvl8pPr algn="ctr">
              <a:defRPr sz="1400">
                <a:solidFill>
                  <a:schemeClr val="bg1"/>
                </a:solidFill>
              </a:defRPr>
            </a:lvl8pPr>
            <a:lvl9pPr algn="ctr"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3B7FE4D-0778-4EAA-A363-D03799F80C1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202724" y="194540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A68B0964-3874-486B-8DE2-409BF0FE93D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65615" y="1945409"/>
            <a:ext cx="612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4C35728A-B42D-4EF1-8FAF-47F142BFE64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5400000">
            <a:off x="3643819" y="3455662"/>
            <a:ext cx="489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Logo">
            <a:extLst>
              <a:ext uri="{FF2B5EF4-FFF2-40B4-BE49-F238E27FC236}">
                <a16:creationId xmlns:a16="http://schemas.microsoft.com/office/drawing/2014/main" id="{3E2B23B6-EBD6-4FC4-9C4B-7A9626D962A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9DC1A15F-1016-408E-846B-97F19D66420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E94FB7-CAC3-4EBF-8421-CEC8033F612E}"/>
              </a:ext>
            </a:extLst>
          </p:cNvPr>
          <p:cNvSpPr>
            <a:spLocks noGrp="1"/>
          </p:cNvSpPr>
          <p:nvPr>
            <p:ph type="dt" sz="half" idx="9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63D1C-32D2-4CBC-8F00-005D5F54E4C4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F15EBC9-C043-4B50-A79D-274BBF27F4B9}"/>
              </a:ext>
            </a:extLst>
          </p:cNvPr>
          <p:cNvSpPr>
            <a:spLocks noGrp="1"/>
          </p:cNvSpPr>
          <p:nvPr>
            <p:ph type="ftr" sz="quarter" idx="9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8889CDA-4D7C-4CCA-897F-B602D05EC418}"/>
              </a:ext>
            </a:extLst>
          </p:cNvPr>
          <p:cNvSpPr>
            <a:spLocks noGrp="1"/>
          </p:cNvSpPr>
          <p:nvPr>
            <p:ph type="sldNum" sz="quarter" idx="9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D2DC6C1E-CAED-23F9-A823-9DF45BA72696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2723619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w/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4C9F49-C755-43CA-B238-F781C2E5CF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110513" y="365125"/>
            <a:ext cx="6081487" cy="5921708"/>
          </a:xfrm>
          <a:solidFill>
            <a:schemeClr val="tx1">
              <a:alpha val="2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3" name="Picture Placeholder 24">
            <a:extLst>
              <a:ext uri="{FF2B5EF4-FFF2-40B4-BE49-F238E27FC236}">
                <a16:creationId xmlns:a16="http://schemas.microsoft.com/office/drawing/2014/main" id="{27CE9C87-6543-46D8-B5FF-9788863E4FD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110512" y="365125"/>
            <a:ext cx="6081487" cy="5921708"/>
          </a:xfrm>
          <a:solidFill>
            <a:srgbClr val="1F3144"/>
          </a:solidFill>
        </p:spPr>
        <p:txBody>
          <a:bodyPr lIns="72000" tIns="72000" rIns="7200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AFBD9D-A88C-482B-8399-670E333AD733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2D051A-A0D8-465E-8BA6-C402B3939203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FA8B0A-7FCE-4E2C-975C-6391ACF06E9D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45AD43-0E99-4DAF-B605-693243DD5DB2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1661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w/Image 2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707B5EA-25CF-4DDB-B047-64E2B9075258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110513" y="365124"/>
            <a:ext cx="6081487" cy="5921709"/>
          </a:xfrm>
          <a:solidFill>
            <a:schemeClr val="tx1">
              <a:alpha val="2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C3EC2A0A-BD0A-4B29-BD1D-C9DBCF2E80A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110512" y="365124"/>
            <a:ext cx="6081487" cy="5921709"/>
          </a:xfrm>
          <a:solidFill>
            <a:srgbClr val="1F3144"/>
          </a:solidFill>
        </p:spPr>
        <p:txBody>
          <a:bodyPr lIns="72000" tIns="72000" rIns="7200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880099-CCC6-47F6-939A-348B036C9B83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7C154A-0A7C-4953-9DC8-A33EDF339C6A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4D55B5-DC2B-4806-AEB3-A95DCB16C7B7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B82F21-1C02-4D42-B1C1-24E2FB9C2CE8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657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Blue and Half Image Preloaded">
    <p:bg>
      <p:bgPr>
        <a:solidFill>
          <a:srgbClr val="005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ABF30E2-909E-44AB-B451-74E7FC21EC99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110513" y="365124"/>
            <a:ext cx="6081487" cy="5921709"/>
          </a:xfrm>
          <a:solidFill>
            <a:schemeClr val="tx1">
              <a:alpha val="2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215DBCEB-AB48-4CC2-AF78-FA2305C8569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110512" y="365124"/>
            <a:ext cx="6081487" cy="5921709"/>
          </a:xfrm>
          <a:solidFill>
            <a:srgbClr val="1F3144"/>
          </a:solidFill>
        </p:spPr>
        <p:txBody>
          <a:bodyPr lIns="72000" tIns="72000" rIns="7200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 sz="1400">
                <a:solidFill>
                  <a:schemeClr val="bg1"/>
                </a:solidFill>
              </a:defRPr>
            </a:lvl2pPr>
            <a:lvl3pPr algn="l">
              <a:defRPr sz="1400">
                <a:solidFill>
                  <a:schemeClr val="bg1"/>
                </a:solidFill>
              </a:defRPr>
            </a:lvl3pPr>
            <a:lvl4pPr algn="l">
              <a:defRPr sz="1400">
                <a:solidFill>
                  <a:schemeClr val="bg1"/>
                </a:solidFill>
              </a:defRPr>
            </a:lvl4pPr>
            <a:lvl5pPr algn="l">
              <a:defRPr sz="140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  <a:lvl7pPr>
              <a:defRPr sz="1400">
                <a:solidFill>
                  <a:schemeClr val="bg1"/>
                </a:solidFill>
              </a:defRPr>
            </a:lvl7pPr>
            <a:lvl8pPr>
              <a:defRPr sz="1400">
                <a:solidFill>
                  <a:schemeClr val="bg1"/>
                </a:solidFill>
              </a:defRPr>
            </a:lvl8pPr>
            <a:lvl9pPr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Text Placeholder Logo">
            <a:extLst>
              <a:ext uri="{FF2B5EF4-FFF2-40B4-BE49-F238E27FC236}">
                <a16:creationId xmlns:a16="http://schemas.microsoft.com/office/drawing/2014/main" id="{33961E4F-D57F-48B1-82F9-67049DEB540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B180FB-CC6C-4E47-939B-940C1257789C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74978F-A72C-4594-B831-DD1B6C926A85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9F0C00-5F93-4EEA-8D8E-85296C7D0ED4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7EEA8B-5631-4CC2-B9F4-DEC760EE1206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3C992E1-5CA8-46F2-955C-191CD06C21DB}"/>
              </a:ext>
            </a:extLst>
          </p:cNvPr>
          <p:cNvSpPr/>
          <p:nvPr userDrawn="1"/>
        </p:nvSpPr>
        <p:spPr>
          <a:xfrm>
            <a:off x="5497850" y="6383450"/>
            <a:ext cx="1395663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F818EF12-DC92-473E-BC32-2885AF9CD510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3811964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Quote &amp;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4C9F49-C755-43CA-B238-F781C2E5CF6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103083" y="365124"/>
            <a:ext cx="6081487" cy="5921709"/>
          </a:xfrm>
          <a:solidFill>
            <a:schemeClr val="tx1">
              <a:alpha val="2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3" name="Picture Placeholder 24">
            <a:extLst>
              <a:ext uri="{FF2B5EF4-FFF2-40B4-BE49-F238E27FC236}">
                <a16:creationId xmlns:a16="http://schemas.microsoft.com/office/drawing/2014/main" id="{27CE9C87-6543-46D8-B5FF-9788863E4FD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110511" y="365124"/>
            <a:ext cx="6081487" cy="5921709"/>
          </a:xfrm>
          <a:solidFill>
            <a:srgbClr val="1F3144"/>
          </a:solidFill>
        </p:spPr>
        <p:txBody>
          <a:bodyPr lIns="72000" tIns="72000" rIns="7200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332C9EC-B38B-4F98-8C20-78C69A4D1C3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886671" y="1866369"/>
            <a:ext cx="3551609" cy="3483381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  <a:lvl2pPr algn="l">
              <a:defRPr sz="2400">
                <a:solidFill>
                  <a:schemeClr val="bg1"/>
                </a:solidFill>
              </a:defRPr>
            </a:lvl2pPr>
            <a:lvl3pPr algn="l">
              <a:defRPr sz="2400">
                <a:solidFill>
                  <a:schemeClr val="bg1"/>
                </a:solidFill>
              </a:defRPr>
            </a:lvl3pPr>
            <a:lvl4pPr algn="l">
              <a:defRPr sz="2400">
                <a:solidFill>
                  <a:schemeClr val="bg1"/>
                </a:solidFill>
              </a:defRPr>
            </a:lvl4pPr>
            <a:lvl5pPr algn="l">
              <a:defRPr sz="2400">
                <a:solidFill>
                  <a:schemeClr val="bg1"/>
                </a:solidFill>
              </a:defRPr>
            </a:lvl5pPr>
            <a:lvl6pPr>
              <a:defRPr sz="2400">
                <a:solidFill>
                  <a:schemeClr val="bg1"/>
                </a:solidFill>
              </a:defRPr>
            </a:lvl6pPr>
            <a:lvl7pPr>
              <a:defRPr sz="2400">
                <a:solidFill>
                  <a:schemeClr val="bg1"/>
                </a:solidFill>
              </a:defRPr>
            </a:lvl7pPr>
            <a:lvl8pPr>
              <a:defRPr sz="2400">
                <a:solidFill>
                  <a:schemeClr val="bg1"/>
                </a:solidFill>
              </a:defRPr>
            </a:lvl8pPr>
            <a:lvl9pPr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5CC06002-EEA6-4E6D-8211-071E33C7112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22522" y="1610101"/>
            <a:ext cx="767383" cy="712155"/>
          </a:xfrm>
          <a:blipFill dpi="0" rotWithShape="1">
            <a:blip r:embed="rId2" cstate="screen">
              <a:alphaModFix amt="5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 sz="100" dirty="0"/>
              <a:t>.</a:t>
            </a:r>
            <a:endParaRPr lang="en-GB" dirty="0"/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FEA713-6108-4EA1-AEAD-9DA2A257FFE4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C3F03D-1983-49C7-8949-7C1DE7C9C182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BE975A-F6A5-4753-BBE5-2C367CC56647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197973-35D5-402D-A06B-0CE19A82B1D2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37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Quote &amp; Image 2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1A0AEDB5-4DD5-4E38-8044-52E3DB094D2C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103083" y="361948"/>
            <a:ext cx="6081487" cy="5924885"/>
          </a:xfrm>
          <a:solidFill>
            <a:schemeClr val="tx1">
              <a:alpha val="2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8AE7D550-6BCC-4762-A32E-2E7456031C27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110512" y="365124"/>
            <a:ext cx="6081487" cy="5921709"/>
          </a:xfrm>
          <a:solidFill>
            <a:srgbClr val="1F3144"/>
          </a:solidFill>
        </p:spPr>
        <p:txBody>
          <a:bodyPr lIns="72000" tIns="72000" rIns="7200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332C9EC-B38B-4F98-8C20-78C69A4D1C3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886671" y="1866369"/>
            <a:ext cx="3551609" cy="3483381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  <a:lvl2pPr algn="l">
              <a:defRPr sz="2400">
                <a:solidFill>
                  <a:schemeClr val="bg1"/>
                </a:solidFill>
              </a:defRPr>
            </a:lvl2pPr>
            <a:lvl3pPr algn="l">
              <a:defRPr sz="2400">
                <a:solidFill>
                  <a:schemeClr val="bg1"/>
                </a:solidFill>
              </a:defRPr>
            </a:lvl3pPr>
            <a:lvl4pPr algn="l">
              <a:defRPr sz="2400">
                <a:solidFill>
                  <a:schemeClr val="bg1"/>
                </a:solidFill>
              </a:defRPr>
            </a:lvl4pPr>
            <a:lvl5pPr algn="l">
              <a:defRPr sz="2400">
                <a:solidFill>
                  <a:schemeClr val="bg1"/>
                </a:solidFill>
              </a:defRPr>
            </a:lvl5pPr>
            <a:lvl6pPr>
              <a:defRPr sz="2400">
                <a:solidFill>
                  <a:schemeClr val="bg1"/>
                </a:solidFill>
              </a:defRPr>
            </a:lvl6pPr>
            <a:lvl7pPr>
              <a:defRPr sz="2400">
                <a:solidFill>
                  <a:schemeClr val="bg1"/>
                </a:solidFill>
              </a:defRPr>
            </a:lvl7pPr>
            <a:lvl8pPr>
              <a:defRPr sz="2400">
                <a:solidFill>
                  <a:schemeClr val="bg1"/>
                </a:solidFill>
              </a:defRPr>
            </a:lvl8pPr>
            <a:lvl9pPr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5CC06002-EEA6-4E6D-8211-071E33C7112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22522" y="1610101"/>
            <a:ext cx="767383" cy="712155"/>
          </a:xfrm>
          <a:blipFill dpi="0" rotWithShape="1">
            <a:blip r:embed="rId2" cstate="screen">
              <a:alphaModFix amt="5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9F44F7-FD58-458A-8AD9-AA62C79BF015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61B29-0F4F-4FCE-A8B8-7D9D8C966185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208BC2-61CB-433E-BDAD-0E8BE36EB767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E86D2D-0BE4-47CB-B53E-801D7F627E76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142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4D4A87D-81F6-4025-BA72-0111EBD4BF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040000" y="306000"/>
            <a:ext cx="6433200" cy="5176800"/>
          </a:xfrm>
          <a:solidFill>
            <a:srgbClr val="E3E3E5"/>
          </a:solidFill>
        </p:spPr>
        <p:txBody>
          <a:bodyPr lIns="0" tIns="72000" rIns="0" bIns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313" y="784800"/>
            <a:ext cx="7016400" cy="799200"/>
          </a:xfrm>
        </p:spPr>
        <p:txBody>
          <a:bodyPr lIns="0" tIns="0" rIns="0" bIns="0" anchor="t" anchorCtr="0"/>
          <a:lstStyle>
            <a:lvl1pPr algn="l">
              <a:defRPr sz="2600" cap="none" baseline="0">
                <a:solidFill>
                  <a:srgbClr val="1F3144"/>
                </a:solidFill>
              </a:defRPr>
            </a:lvl1pPr>
          </a:lstStyle>
          <a:p>
            <a:r>
              <a:rPr lang="en-GB" dirty="0"/>
              <a:t>Title slide: 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9199" y="1904406"/>
            <a:ext cx="3884400" cy="2520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rgbClr val="005AFF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Enter nam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1C17F2-EEA8-4274-8DBC-2D5D86A7406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09200" y="2150589"/>
            <a:ext cx="3884400" cy="252000"/>
          </a:xfrm>
        </p:spPr>
        <p:txBody>
          <a:bodyPr lIns="0" tIns="0" rIns="0" bIns="0"/>
          <a:lstStyle>
            <a:lvl1pPr marL="0" indent="0" algn="l">
              <a:buNone/>
              <a:defRPr sz="1600">
                <a:solidFill>
                  <a:srgbClr val="1F314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department here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13E46AB2-46A4-400E-B8E1-55181C350E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9200" y="2631375"/>
            <a:ext cx="38844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600">
                <a:solidFill>
                  <a:srgbClr val="1F3144"/>
                </a:solidFill>
              </a:defRPr>
            </a:lvl1pPr>
          </a:lstStyle>
          <a:p>
            <a:fld id="{D252C783-0F79-47A5-91CC-42E27032C236}" type="datetime4">
              <a:rPr lang="en-GB" smtClean="0"/>
              <a:pPr/>
              <a:t>07 September 2024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87CDAFB-F162-F815-209E-9A34D39FF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998" y="6516925"/>
            <a:ext cx="1771200" cy="95311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34CD788A-2633-F30C-022F-9B2D44FF8B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29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7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Quote Image Two">
    <p:bg>
      <p:bgPr>
        <a:solidFill>
          <a:srgbClr val="005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ADCB47-1A69-4F91-8980-4EC0495EA649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D83CFA9A-5AE8-4970-8869-3EC06CCE9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28447" y="1720792"/>
            <a:ext cx="4659652" cy="3483381"/>
          </a:xfrm>
        </p:spPr>
        <p:txBody>
          <a:bodyPr vert="horz" lIns="91440" tIns="45720" rIns="91440" bIns="45720" rtlCol="0" anchor="t">
            <a:noAutofit/>
          </a:bodyPr>
          <a:lstStyle>
            <a:lvl1pPr marL="342900" indent="-342900">
              <a:buFont typeface="Arial" panose="020B0604020202020204" pitchFamily="34" charset="0"/>
              <a:buNone/>
              <a:defRPr lang="en-GB" sz="24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533"/>
              </a:spcAft>
              <a:buClrTx/>
              <a:buFont typeface="Arial" panose="020B0604020202020204" pitchFamily="34" charset="0"/>
            </a:pPr>
            <a:r>
              <a:rPr lang="en-GB" dirty="0"/>
              <a:t>Enter text here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5CC06002-EEA6-4E6D-8211-071E33C7112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64297" y="1429600"/>
            <a:ext cx="767383" cy="712155"/>
          </a:xfrm>
          <a:blipFill dpi="0" rotWithShape="1">
            <a:blip r:embed="rId2" cstate="screen">
              <a:alphaModFix amt="5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" name="Text Placeholder Logo">
            <a:extLst>
              <a:ext uri="{FF2B5EF4-FFF2-40B4-BE49-F238E27FC236}">
                <a16:creationId xmlns:a16="http://schemas.microsoft.com/office/drawing/2014/main" id="{094C5836-0618-4FF8-83BA-9DA7AB82EFD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182FBA-A12B-49AF-AA2B-9C04358CA06E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760DDB-6CE2-4AD0-BD10-B06F10A83A5F}"/>
              </a:ext>
            </a:extLst>
          </p:cNvPr>
          <p:cNvSpPr>
            <a:spLocks noGrp="1"/>
          </p:cNvSpPr>
          <p:nvPr>
            <p:ph type="dt" sz="half" idx="9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EEE4A6-EA4F-4089-BFA4-25457FEB57BF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536A5D-AF9C-4975-9B21-0D4BE4F68252}"/>
              </a:ext>
            </a:extLst>
          </p:cNvPr>
          <p:cNvSpPr>
            <a:spLocks noGrp="1"/>
          </p:cNvSpPr>
          <p:nvPr>
            <p:ph type="ftr" sz="quarter" idx="9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D942074-6DD5-4912-AC27-47599AAC9C0A}"/>
              </a:ext>
            </a:extLst>
          </p:cNvPr>
          <p:cNvSpPr>
            <a:spLocks noGrp="1"/>
          </p:cNvSpPr>
          <p:nvPr>
            <p:ph type="sldNum" sz="quarter" idx="9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B7AF921D-F2C4-6B5D-54B8-F278C6B45469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5833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ottom Half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E512BE1-DE56-4C72-B9C0-EFB3E724C73E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176" y="3821148"/>
            <a:ext cx="12188824" cy="3036852"/>
          </a:xfrm>
          <a:solidFill>
            <a:schemeClr val="tx1">
              <a:alpha val="25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3" name="Picture Placeholder 24">
            <a:extLst>
              <a:ext uri="{FF2B5EF4-FFF2-40B4-BE49-F238E27FC236}">
                <a16:creationId xmlns:a16="http://schemas.microsoft.com/office/drawing/2014/main" id="{27CE9C87-6543-46D8-B5FF-9788863E4FD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176" y="3821148"/>
            <a:ext cx="12188823" cy="3036852"/>
          </a:xfrm>
          <a:solidFill>
            <a:srgbClr val="E3E3E5"/>
          </a:solidFill>
        </p:spPr>
        <p:txBody>
          <a:bodyPr lIns="0" tIns="72000" rIns="0" bIns="0" anchor="t"/>
          <a:lstStyle>
            <a:lvl1pPr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134257"/>
            <a:ext cx="11760004" cy="943452"/>
          </a:xfrm>
        </p:spPr>
        <p:txBody>
          <a:bodyPr anchor="b"/>
          <a:lstStyle>
            <a:lvl1pPr algn="ctr"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5999" y="1810700"/>
            <a:ext cx="11760004" cy="1975488"/>
          </a:xfrm>
        </p:spPr>
        <p:txBody>
          <a:bodyPr/>
          <a:lstStyle>
            <a:lvl1pPr algn="ctr">
              <a:defRPr sz="1600">
                <a:solidFill>
                  <a:schemeClr val="tx1"/>
                </a:solidFill>
              </a:defRPr>
            </a:lvl1pPr>
            <a:lvl2pPr algn="ctr">
              <a:defRPr sz="1600">
                <a:solidFill>
                  <a:schemeClr val="tx1"/>
                </a:solidFill>
              </a:defRPr>
            </a:lvl2pPr>
            <a:lvl3pPr algn="ctr">
              <a:defRPr sz="16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 algn="ctr">
              <a:defRPr sz="1600"/>
            </a:lvl6pPr>
            <a:lvl7pPr algn="ctr">
              <a:defRPr sz="1600"/>
            </a:lvl7pPr>
            <a:lvl8pPr algn="ctr">
              <a:defRPr sz="1600"/>
            </a:lvl8pPr>
            <a:lvl9pPr algn="ctr">
              <a:defRPr sz="16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5BCDB5-02AE-4E4D-818C-61F5B7B2F9C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672999" y="1263032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C30BF45E-6352-493C-9C5C-400373FF4CEC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43799" y="6477062"/>
            <a:ext cx="7200" cy="190800"/>
          </a:xfr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DB060C6D-F198-436C-990E-DB47F972BE5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2FF96C-5DA3-4CCA-9644-29BA2D7B21CF}"/>
              </a:ext>
            </a:extLst>
          </p:cNvPr>
          <p:cNvSpPr>
            <a:spLocks noGrp="1"/>
          </p:cNvSpPr>
          <p:nvPr>
            <p:ph type="dt" sz="half" idx="96"/>
          </p:nvPr>
        </p:nvSpPr>
        <p:spPr/>
        <p:txBody>
          <a:bodyPr/>
          <a:lstStyle/>
          <a:p>
            <a:fld id="{48467BFD-4FA6-4877-AD65-AA3C06C67D2F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988E0A-0898-433A-815F-994ABE98F3B1}"/>
              </a:ext>
            </a:extLst>
          </p:cNvPr>
          <p:cNvSpPr>
            <a:spLocks noGrp="1"/>
          </p:cNvSpPr>
          <p:nvPr>
            <p:ph type="ftr" sz="quarter" idx="9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C3E69A-AC69-4D24-8FE2-19C81FD91CB2}"/>
              </a:ext>
            </a:extLst>
          </p:cNvPr>
          <p:cNvSpPr>
            <a:spLocks noGrp="1"/>
          </p:cNvSpPr>
          <p:nvPr>
            <p:ph type="sldNum" sz="quarter" idx="9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695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6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ext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11695014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431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11694318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2912FC-616D-44C4-9CFE-8C3E14A22095}"/>
              </a:ext>
            </a:extLst>
          </p:cNvPr>
          <p:cNvSpPr>
            <a:spLocks noGrp="1"/>
          </p:cNvSpPr>
          <p:nvPr>
            <p:ph type="dt" sz="half" idx="93"/>
          </p:nvPr>
        </p:nvSpPr>
        <p:spPr/>
        <p:txBody>
          <a:bodyPr/>
          <a:lstStyle/>
          <a:p>
            <a:fld id="{5BE6CBEC-F540-4A5E-8FC0-19F0C98C2ADC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024430-AA56-4EBB-8F3C-4C06A1E9E7AE}"/>
              </a:ext>
            </a:extLst>
          </p:cNvPr>
          <p:cNvSpPr>
            <a:spLocks noGrp="1"/>
          </p:cNvSpPr>
          <p:nvPr>
            <p:ph type="ftr" sz="quarter" idx="9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8C991F-E9A0-4A69-8A6F-3CC58B0D9232}"/>
              </a:ext>
            </a:extLst>
          </p:cNvPr>
          <p:cNvSpPr>
            <a:spLocks noGrp="1"/>
          </p:cNvSpPr>
          <p:nvPr>
            <p:ph type="sldNum" sz="quarter" idx="95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9448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Full Pa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0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09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11694314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60EF2B-AC37-4C8F-A472-744A4C41C6F6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6C9D71F-AB53-4AE8-A81E-E4C9CE1DE5CA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19F3759-5B36-4401-BCB3-18865F66202C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1614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0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09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5740660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F8075B2-9858-4087-B7C2-3255330303C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234646" y="1478705"/>
            <a:ext cx="5676356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2680CA-F418-4E38-AFCA-9327BB708FE1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/>
          <a:p>
            <a:fld id="{00E01680-F83F-45D3-8ED0-FA70CEE94549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79C35C-FDD3-4E78-96E1-A1544DF897B4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92D9BA-3352-484D-8CC1-A43FA5C09B90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393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0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09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4" y="1478705"/>
            <a:ext cx="3715200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F8075B2-9858-4087-B7C2-3255330303C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205900" y="1478705"/>
            <a:ext cx="3715200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C1F9021-E3AB-4138-A26C-63240F4969D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8195803" y="1478705"/>
            <a:ext cx="3715200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C23ABE-13B3-4FC7-930D-AF00BC5751DC}"/>
              </a:ext>
            </a:extLst>
          </p:cNvPr>
          <p:cNvSpPr>
            <a:spLocks noGrp="1"/>
          </p:cNvSpPr>
          <p:nvPr>
            <p:ph type="dt" sz="half" idx="95"/>
          </p:nvPr>
        </p:nvSpPr>
        <p:spPr/>
        <p:txBody>
          <a:bodyPr/>
          <a:lstStyle/>
          <a:p>
            <a:fld id="{54972008-527E-4CBC-B3D4-CDD15469DE05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7FDCE0-E3C4-45ED-8E3B-575E67222034}"/>
              </a:ext>
            </a:extLst>
          </p:cNvPr>
          <p:cNvSpPr>
            <a:spLocks noGrp="1"/>
          </p:cNvSpPr>
          <p:nvPr>
            <p:ph type="ftr" sz="quarter" idx="9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778C0-76AD-4DC8-86B0-A4BFC141426E}"/>
              </a:ext>
            </a:extLst>
          </p:cNvPr>
          <p:cNvSpPr>
            <a:spLocks noGrp="1"/>
          </p:cNvSpPr>
          <p:nvPr>
            <p:ph type="sldNum" sz="quarter" idx="97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985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10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14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F348C85A-6D46-47C9-A25B-A10C6BB4E603}"/>
              </a:ext>
            </a:extLst>
          </p:cNvPr>
          <p:cNvSpPr>
            <a:spLocks noGrp="1"/>
          </p:cNvSpPr>
          <p:nvPr>
            <p:ph type="chart" sz="quarter" idx="93" hasCustomPrompt="1"/>
          </p:nvPr>
        </p:nvSpPr>
        <p:spPr>
          <a:xfrm>
            <a:off x="216694" y="1478705"/>
            <a:ext cx="11694305" cy="4808128"/>
          </a:xfrm>
        </p:spPr>
        <p:txBody>
          <a:bodyPr lIns="0" tIns="72000" rIns="0" bIns="0" anchor="t"/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the icon to insert a chart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2ED477-319C-43C0-A7CD-C26E1C9AB7DA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/>
          <a:p>
            <a:fld id="{3C04F81B-3954-4C77-AD45-CA864CB69612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E0DC9EA-A031-4FDF-877E-7ED6F6DA12F6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DD24AD-00FE-49D9-8135-8A37F8E55F7F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7578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Text and Chart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3161CE6-F8A9-43CF-8271-2FF1863BB9AF}"/>
              </a:ext>
            </a:extLst>
          </p:cNvPr>
          <p:cNvSpPr/>
          <p:nvPr userDrawn="1"/>
        </p:nvSpPr>
        <p:spPr>
          <a:xfrm>
            <a:off x="6096346" y="365125"/>
            <a:ext cx="6095653" cy="5921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9" y="365125"/>
            <a:ext cx="5880002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5879652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25F5958-AC03-41A3-A084-0AFFFCE2B065}"/>
              </a:ext>
            </a:extLst>
          </p:cNvPr>
          <p:cNvSpPr>
            <a:spLocks noGrp="1"/>
          </p:cNvSpPr>
          <p:nvPr>
            <p:ph type="chart" sz="quarter" idx="93" hasCustomPrompt="1"/>
          </p:nvPr>
        </p:nvSpPr>
        <p:spPr>
          <a:xfrm>
            <a:off x="6518030" y="1873747"/>
            <a:ext cx="5253284" cy="4413085"/>
          </a:xfrm>
        </p:spPr>
        <p:txBody>
          <a:bodyPr lIns="0" tIns="72000" rIns="0" bIns="0" anchor="t"/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the icon to insert a chart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Logo">
            <a:extLst>
              <a:ext uri="{FF2B5EF4-FFF2-40B4-BE49-F238E27FC236}">
                <a16:creationId xmlns:a16="http://schemas.microsoft.com/office/drawing/2014/main" id="{BEAEFE73-BF68-44A6-93D1-FB182C0DE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3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15F5DD5-4FF1-4808-A1EE-DE4550F25C0E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/>
          <a:p>
            <a:fld id="{4FCB6D49-9CC8-483D-9161-C3B992725DEA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ABD97B-B0E0-4959-8615-B42858EB8532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1D9AD5-67BE-41BC-A1B5-A44AFDD51527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1169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and Half Text and Cha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23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19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25F5958-AC03-41A3-A084-0AFFFCE2B065}"/>
              </a:ext>
            </a:extLst>
          </p:cNvPr>
          <p:cNvSpPr>
            <a:spLocks noGrp="1"/>
          </p:cNvSpPr>
          <p:nvPr>
            <p:ph type="chart" sz="quarter" idx="93" hasCustomPrompt="1"/>
          </p:nvPr>
        </p:nvSpPr>
        <p:spPr>
          <a:xfrm>
            <a:off x="6518030" y="1873747"/>
            <a:ext cx="5253284" cy="4413085"/>
          </a:xfrm>
        </p:spPr>
        <p:txBody>
          <a:bodyPr lIns="0" tIns="72000" rIns="0" bIns="0" anchor="t"/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Click the icon to insert a chart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DDB20D6-E5B4-4A77-902C-A19FF381C757}"/>
              </a:ext>
            </a:extLst>
          </p:cNvPr>
          <p:cNvSpPr>
            <a:spLocks noGrp="1"/>
          </p:cNvSpPr>
          <p:nvPr>
            <p:ph type="dt" sz="half" idx="94"/>
          </p:nvPr>
        </p:nvSpPr>
        <p:spPr/>
        <p:txBody>
          <a:bodyPr/>
          <a:lstStyle/>
          <a:p>
            <a:fld id="{BF63158C-4112-41B7-A686-675E014B0CB6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D72FA3-0D56-482B-BB58-B7C9AD092C23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81EA7-FC7E-434F-A5B8-714FF0776444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416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Align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04649836-A2D9-4939-9690-4FD252E6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501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1AB639F-DAEF-4634-8195-BBD07884E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4" y="923703"/>
            <a:ext cx="11694311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DBAD05C-3046-4964-B5D0-98ECD60770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6695" y="1478705"/>
            <a:ext cx="4049005" cy="4808128"/>
          </a:xfrm>
        </p:spPr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 sz="1400">
                <a:solidFill>
                  <a:schemeClr val="tx1"/>
                </a:solidFill>
              </a:defRPr>
            </a:lvl2pPr>
            <a:lvl3pPr algn="l">
              <a:defRPr sz="1400">
                <a:solidFill>
                  <a:schemeClr val="tx1"/>
                </a:solidFill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177B28-B759-4A4D-9E96-0632EBCDF24B}"/>
              </a:ext>
            </a:extLst>
          </p:cNvPr>
          <p:cNvSpPr>
            <a:spLocks noGrp="1"/>
          </p:cNvSpPr>
          <p:nvPr>
            <p:ph type="dt" sz="half" idx="93"/>
          </p:nvPr>
        </p:nvSpPr>
        <p:spPr/>
        <p:txBody>
          <a:bodyPr/>
          <a:lstStyle/>
          <a:p>
            <a:fld id="{C6C606F5-D92A-48F6-A652-EF499F703295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2B0E7-FB7B-47E4-B4AC-D4C815E52C7F}"/>
              </a:ext>
            </a:extLst>
          </p:cNvPr>
          <p:cNvSpPr>
            <a:spLocks noGrp="1"/>
          </p:cNvSpPr>
          <p:nvPr>
            <p:ph type="ftr" sz="quarter" idx="9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8F0E24-4C01-48F0-BEFA-08753D17E3AC}"/>
              </a:ext>
            </a:extLst>
          </p:cNvPr>
          <p:cNvSpPr>
            <a:spLocks noGrp="1"/>
          </p:cNvSpPr>
          <p:nvPr>
            <p:ph type="sldNum" sz="quarter" idx="95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920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4D4A87D-81F6-4025-BA72-0111EBD4BF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216000" y="453600"/>
            <a:ext cx="6174000" cy="5274000"/>
          </a:xfrm>
          <a:solidFill>
            <a:srgbClr val="E3E3E5"/>
          </a:solidFill>
        </p:spPr>
        <p:txBody>
          <a:bodyPr lIns="0" tIns="72000" rIns="0" bIns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8800" y="1422000"/>
            <a:ext cx="4363200" cy="1198800"/>
          </a:xfrm>
        </p:spPr>
        <p:txBody>
          <a:bodyPr lIns="0" tIns="0" rIns="0" bIns="0" anchor="t" anchorCtr="0"/>
          <a:lstStyle>
            <a:lvl1pPr algn="l">
              <a:defRPr sz="2600" cap="none" baseline="0">
                <a:solidFill>
                  <a:srgbClr val="1F3144"/>
                </a:solidFill>
              </a:defRPr>
            </a:lvl1pPr>
          </a:lstStyle>
          <a:p>
            <a:r>
              <a:rPr lang="en-GB" dirty="0"/>
              <a:t>Title slide: 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70483" y="2941893"/>
            <a:ext cx="3885513" cy="2520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rgbClr val="005AFF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Enter nam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A1C17F2-EEA8-4274-8DBC-2D5D86A7406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270482" y="3188076"/>
            <a:ext cx="3884400" cy="252000"/>
          </a:xfrm>
        </p:spPr>
        <p:txBody>
          <a:bodyPr lIns="0" tIns="0" rIns="0" bIns="0"/>
          <a:lstStyle>
            <a:lvl1pPr marL="0" indent="0" algn="l">
              <a:buNone/>
              <a:defRPr sz="1600">
                <a:solidFill>
                  <a:srgbClr val="1F314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department here</a:t>
            </a:r>
          </a:p>
        </p:txBody>
      </p:sp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13E46AB2-46A4-400E-B8E1-55181C350E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70483" y="3668862"/>
            <a:ext cx="38844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600">
                <a:solidFill>
                  <a:srgbClr val="1F3144"/>
                </a:solidFill>
              </a:defRPr>
            </a:lvl1pPr>
          </a:lstStyle>
          <a:p>
            <a:fld id="{98D757E2-DEF0-4B43-A796-D28195E099C9}" type="datetime4">
              <a:rPr lang="en-GB" smtClean="0"/>
              <a:pPr/>
              <a:t>07 September 2024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87CDAFB-F162-F815-209E-9A34D39FF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998" y="6516925"/>
            <a:ext cx="1771200" cy="95311"/>
          </a:xfrm>
          <a:prstGeom prst="rect">
            <a:avLst/>
          </a:prstGeom>
        </p:spPr>
      </p:pic>
      <p:pic>
        <p:nvPicPr>
          <p:cNvPr id="6" name="Logo">
            <a:extLst>
              <a:ext uri="{FF2B5EF4-FFF2-40B4-BE49-F238E27FC236}">
                <a16:creationId xmlns:a16="http://schemas.microsoft.com/office/drawing/2014/main" id="{34CD788A-2633-F30C-022F-9B2D44FF8B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69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02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 w/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99B866C-CD0C-47C0-A192-6244483748FB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9388309A-778E-49A1-BC2A-DF1945B5DFF4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D0508BC-4CCC-49C7-9CF8-CA54D854D8BB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F4BA15B-49FF-44CC-B950-F35B44288276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644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w/Title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DF965D-05CC-4FDD-AA52-C7BF5415BEAB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ACCF56E8-8327-4BE3-B443-886464DA56E8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18562E7-CC58-4FEA-8D61-15BD636902DB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4F66E5-3A2C-49A5-ADA2-3EA6E493E26D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59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lue Grey w/Title">
    <p:bg>
      <p:bgPr>
        <a:solidFill>
          <a:srgbClr val="1F31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CF1B07-77A9-4BBB-AE77-658B8B125D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6017" y="6454726"/>
            <a:ext cx="885050" cy="162560"/>
          </a:xfrm>
          <a:prstGeom prst="rect">
            <a:avLst/>
          </a:prstGeom>
        </p:spPr>
      </p:pic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986C9FC-C5F9-43E7-B60F-352BB65B3393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90F00F-4CD4-4A3D-BE99-1621D7E3BBE6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08727F7-1960-46E8-9E7B-16BE0A964187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BF544CC-4A82-4B5A-9034-3D32F2FEF5A3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4B0E352A-BE96-678C-7704-FACF92E27837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148960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FDEAF-0A05-4436-BCF9-B369572B11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16E8B6-4CE0-4696-BBD4-810D689FBB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6D59C-827A-4D61-BECD-C438E677C98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A7ED211-A77E-4237-8E41-B01F87FA2186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042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16E8B6-4CE0-4696-BBD4-810D689FBB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FDEAF-0A05-4436-BCF9-B369572B11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313B9B-662F-4F69-B7FD-1D66F39D3D3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EC07B73-C55E-44F2-9FFE-3FDB910FA0C5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476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lue Grey">
    <p:bg>
      <p:bgPr>
        <a:solidFill>
          <a:srgbClr val="1F31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DCF1B07-77A9-4BBB-AE77-658B8B125D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6017" y="6454726"/>
            <a:ext cx="885050" cy="162560"/>
          </a:xfrm>
          <a:prstGeom prst="rect">
            <a:avLst/>
          </a:prstGeom>
        </p:spPr>
      </p:pic>
      <p:cxnSp>
        <p:nvCxnSpPr>
          <p:cNvPr id="28" name="Lige forbindelse 41">
            <a:extLst>
              <a:ext uri="{FF2B5EF4-FFF2-40B4-BE49-F238E27FC236}">
                <a16:creationId xmlns:a16="http://schemas.microsoft.com/office/drawing/2014/main" id="{2C24F07D-6848-411F-AAE7-CAAF5375E6EB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16E8B6-4CE0-4696-BBD4-810D689FBB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FDEAF-0A05-4436-BCF9-B369572B11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C5C0BB-D297-4354-A1B7-A51CBE19485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902A5D-12B5-47B7-AF31-F80E63E0EE6B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5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70C568A5-DC17-5DEA-6110-EC76630EEF7F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174476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005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CA0C22-2880-4F57-966F-E7DF818B60DE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1" y="1772393"/>
            <a:ext cx="11352213" cy="1329296"/>
          </a:xfrm>
        </p:spPr>
        <p:txBody>
          <a:bodyPr anchor="b"/>
          <a:lstStyle>
            <a:lvl1pPr algn="ctr">
              <a:defRPr sz="330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d slide: enter titl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61B11868-5A21-45AF-B098-53BA095B36C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70689" y="3330684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2" name="Text Placeholder Logo">
            <a:extLst>
              <a:ext uri="{FF2B5EF4-FFF2-40B4-BE49-F238E27FC236}">
                <a16:creationId xmlns:a16="http://schemas.microsoft.com/office/drawing/2014/main" id="{220C6D98-58C7-4746-AC3D-3FBF99269E4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4361" y="269083"/>
            <a:ext cx="1458000" cy="27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5ADFD3A5-D8DC-4E79-BCE6-38EDB81AFB5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357333" y="403101"/>
            <a:ext cx="2520000" cy="1368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BC15235-D8E5-4239-AA14-84609BFE0AA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1275" y="6209925"/>
            <a:ext cx="75312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30901402-43D6-797D-21D1-32471D16DA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56487" y="5390862"/>
            <a:ext cx="2677886" cy="4112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0E4C89E-291A-429C-A0B8-9369E452A3BE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528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21BCD44-F335-4320-88EC-18DF8BAB062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A2A9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A66C76E-BC85-49AE-9464-2982FA74EFA6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/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1" y="1772393"/>
            <a:ext cx="11352213" cy="1329296"/>
          </a:xfrm>
        </p:spPr>
        <p:txBody>
          <a:bodyPr anchor="b"/>
          <a:lstStyle>
            <a:lvl1pPr algn="ctr">
              <a:defRPr sz="3300"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d slide: enter titl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61B11868-5A21-45AF-B098-53BA095B36C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70689" y="3330684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7FE34046-9129-4CE9-8F87-5EB293C088C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14361" y="269083"/>
            <a:ext cx="1458000" cy="270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6" name="Text Placeholder Logo">
            <a:extLst>
              <a:ext uri="{FF2B5EF4-FFF2-40B4-BE49-F238E27FC236}">
                <a16:creationId xmlns:a16="http://schemas.microsoft.com/office/drawing/2014/main" id="{124BFED5-0438-497A-A3D4-DBF7EC59C74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357333" y="403101"/>
            <a:ext cx="2520000" cy="1368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144ECB-7FC1-4922-A389-A3714120888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1275" y="6209925"/>
            <a:ext cx="75312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CBB03F1A-3F80-4667-1A99-E0865273D5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56487" y="5390862"/>
            <a:ext cx="2677886" cy="4112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fld id="{C0E4C89E-291A-429C-A0B8-9369E452A3BE}" type="datetime4">
              <a:rPr lang="en-GB" smtClean="0"/>
              <a:pPr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92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F57A4A-2A27-8BB2-4968-5831827389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1EDA261-0E9A-6736-8D3D-B061B35EB5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80902CB-ECCB-AD3F-705E-39FB05B3B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69BC4B8-57BC-E27C-7230-C79EFD987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262F283-B0A9-EEBF-BA8C-D2421E6F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84225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7340CB-E5B4-E328-16B5-399CD0E1D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D11EF37-ECC1-14DB-FDF8-438962DF97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3A45318-C0E0-28BD-FF04-071EF7A56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82F8C4E-BAF1-689A-F752-0905D2ABA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FE13C01-0573-8874-37F0-084AE1CBA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8413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One">
    <p:bg>
      <p:bgPr>
        <a:solidFill>
          <a:srgbClr val="1F31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21BCD44-F335-4320-88EC-18DF8BAB062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03F9D6-DCBF-4A38-BB05-4036AF0975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0" y="0"/>
            <a:ext cx="12192000" cy="6858000"/>
          </a:xfrm>
          <a:solidFill>
            <a:srgbClr val="1F3144"/>
          </a:solidFill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1" y="2183048"/>
            <a:ext cx="11352213" cy="1245952"/>
          </a:xfrm>
        </p:spPr>
        <p:txBody>
          <a:bodyPr tIns="0" anchor="ctr"/>
          <a:lstStyle>
            <a:lvl1pPr algn="ctr">
              <a:defRPr sz="330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 slide: enter title her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7366FB7-188D-47D6-B5A2-06D6E44B377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70689" y="3330684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38F5B89E-91FB-4AFE-90EA-0AA0564A2D6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668000" y="6435480"/>
            <a:ext cx="1103313" cy="2016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CC771C4C-8EF6-AFB0-5721-014DAA1462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56487" y="6090658"/>
            <a:ext cx="2677886" cy="4112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C0E4C89E-291A-429C-A0B8-9369E452A3BE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593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91EB17-7972-3FE1-2EE1-6476E1317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CA7D8AF-572F-6164-371F-78340D6375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71B93D9-E653-E244-1802-D7F855E66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BB48C1C-DB1D-E3C8-69E5-8A8B55B7F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CF13BA-77D0-9041-2E4D-60046AAEF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98644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89A8ECF-F381-AA25-13C6-87AFDA153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FFFD47C-DBBA-C696-EDC3-903E173F02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ABB67142-6563-6166-1A86-07C5F7ED41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C6E62CC-77E1-1AAF-961C-E299820D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4BB5857-01B6-0C30-D064-A1BE5C4B5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B6C1C410-DB3E-D9E6-2D23-4E225596F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5986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B717EE5-DCF7-E6F8-717A-75786E247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BDA7E72-0A20-E116-3084-7FF472483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B12EBD6-6362-DD1C-7308-4F1EC10757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4B8DE60-1CA3-ACFD-A5AE-10C7AF46D2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697CDA45-0419-5273-3B74-E7C105C21E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F9602FBE-A3DE-91A3-9244-F5ACD8BB5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3FEB56B8-F1EA-1F7D-5380-5B4BED688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2AD709DC-8201-1FD9-AB2A-64EAA68FB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535131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990354C-0BFA-E43E-F4F1-3D999BD92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F25C5D-D569-F9D6-729B-0F438F0A2E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D66E877-9743-6BF1-B941-CC8FC019C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8F4523-2B5F-F6C6-944B-B6E445187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796430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47E44435-7B9D-92AF-540B-DFC25DB7C1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2D619BC-80F6-0B93-AE02-521AC667D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7A19141-7B28-A91F-E0F2-721C2B0B2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62950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D0A5C3D-F3DE-D632-FE6E-AA2C97F5D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0D88D97-3BAF-CCEF-20DA-09623CB119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9D540503-2F21-9662-0F03-8C85B4DAB3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AB659DB2-0CF8-7E7D-61BB-8F6697BD1C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6480EB28-7284-89B9-05F4-2A0F49AD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55CC8C1-23D1-5DEA-E42F-364BD20CA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51195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539B344-57E8-3046-171C-F66FD05F8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F06E8EDE-2B1A-BDBE-42A8-F55101F9E6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CE2C55D-13A4-3B25-7509-33725EE952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7EF3AE5-6248-DC88-0A95-7F712A51C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4E80E32F-5C4A-3B9B-50E0-D346B1907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2C568CDA-6612-12B1-068D-3E883809C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67620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5AE3191-222D-83E2-E1F5-3C641E7E6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9E746675-E2E4-C15D-0DA3-95514BEE59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5500CE9-98C0-5825-56C5-0AE950B5E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89E4652-60C9-6D7C-2678-71E8B6E0B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CC05122-8521-0657-0183-A65D51EA5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26266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CD737527-71CF-CE01-F372-9EE08C365C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5054B8F6-CF76-9E0C-B9D1-AB487901F1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6FB98AA-FE35-BA41-B745-8AF50D5B62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47481E-EFA0-5604-EA0B-4CD223F6C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467474-F9BF-AFC9-793A-819ED4F4B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4469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Two">
    <p:bg>
      <p:bgPr>
        <a:solidFill>
          <a:schemeClr val="tx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21BCD44-F335-4320-88EC-18DF8BAB062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03F9D6-DCBF-4A38-BB05-4036AF0975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0" y="0"/>
            <a:ext cx="12192000" cy="6858000"/>
          </a:xfrm>
          <a:solidFill>
            <a:srgbClr val="A2A9B1"/>
          </a:solidFill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9101" y="2183048"/>
            <a:ext cx="11352213" cy="1245952"/>
          </a:xfrm>
        </p:spPr>
        <p:txBody>
          <a:bodyPr tIns="0" anchor="ctr"/>
          <a:lstStyle>
            <a:lvl1pPr algn="ctr">
              <a:defRPr sz="3300"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hapter slide: enter title her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7366FB7-188D-47D6-B5A2-06D6E44B377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70689" y="3330684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" name="Text Placeholder Logo">
            <a:extLst>
              <a:ext uri="{FF2B5EF4-FFF2-40B4-BE49-F238E27FC236}">
                <a16:creationId xmlns:a16="http://schemas.microsoft.com/office/drawing/2014/main" id="{FBE1CE69-C065-AC64-B090-111C11E2DAD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668000" y="6435480"/>
            <a:ext cx="1103313" cy="2016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Date Placeholder 1">
            <a:extLst>
              <a:ext uri="{FF2B5EF4-FFF2-40B4-BE49-F238E27FC236}">
                <a16:creationId xmlns:a16="http://schemas.microsoft.com/office/drawing/2014/main" id="{6E4FDB0B-B810-E5D7-3FB0-09BA7BC68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56487" y="6090658"/>
            <a:ext cx="2677886" cy="4112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fld id="{69D1C119-E223-468F-A54D-A152026B3E58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146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One">
    <p:bg>
      <p:bgPr>
        <a:solidFill>
          <a:srgbClr val="1F31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833A2D-A0B6-42AC-AC5D-BB3CCCC79F59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0" y="0"/>
            <a:ext cx="12192000" cy="6858000"/>
          </a:xfrm>
          <a:solidFill>
            <a:srgbClr val="1F3144"/>
          </a:solidFill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314" y="2766216"/>
            <a:ext cx="5088156" cy="1325563"/>
          </a:xfrm>
        </p:spPr>
        <p:txBody>
          <a:bodyPr anchor="ctr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able of contents:</a:t>
            </a:r>
            <a:br>
              <a:rPr lang="en-GB" dirty="0"/>
            </a:br>
            <a:r>
              <a:rPr lang="en-GB" dirty="0"/>
              <a:t>enter text her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0257FA15-DEBC-4684-9FBF-737C7DC0B4B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501231" y="1584960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D3F0408-7C3C-43EA-984E-3A54A92867B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01231" y="2098596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38544E23-6DC6-4257-B556-1AB86A8F65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01231" y="2612232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6" name="Text Placeholder 7">
            <a:extLst>
              <a:ext uri="{FF2B5EF4-FFF2-40B4-BE49-F238E27FC236}">
                <a16:creationId xmlns:a16="http://schemas.microsoft.com/office/drawing/2014/main" id="{092912F5-DC33-4FAC-827C-882DC8B0F0F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501231" y="3125868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7" name="Text Placeholder 7">
            <a:extLst>
              <a:ext uri="{FF2B5EF4-FFF2-40B4-BE49-F238E27FC236}">
                <a16:creationId xmlns:a16="http://schemas.microsoft.com/office/drawing/2014/main" id="{257599C0-3CDF-433F-A820-E6899FA4B91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01231" y="3639504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9" name="Text Placeholder 7">
            <a:extLst>
              <a:ext uri="{FF2B5EF4-FFF2-40B4-BE49-F238E27FC236}">
                <a16:creationId xmlns:a16="http://schemas.microsoft.com/office/drawing/2014/main" id="{82B83A46-075E-4890-9703-E95F04101D6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501231" y="4153140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20" name="Text Placeholder 7">
            <a:extLst>
              <a:ext uri="{FF2B5EF4-FFF2-40B4-BE49-F238E27FC236}">
                <a16:creationId xmlns:a16="http://schemas.microsoft.com/office/drawing/2014/main" id="{CFD9CED5-D081-4BDE-90A5-01915CF86F7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501231" y="4666776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endParaRPr lang="en-GB" dirty="0"/>
          </a:p>
        </p:txBody>
      </p:sp>
      <p:sp>
        <p:nvSpPr>
          <p:cNvPr id="121" name="Text Placeholder 7">
            <a:extLst>
              <a:ext uri="{FF2B5EF4-FFF2-40B4-BE49-F238E27FC236}">
                <a16:creationId xmlns:a16="http://schemas.microsoft.com/office/drawing/2014/main" id="{CF3A012D-2D79-4301-9F7E-2727B8DFBCAB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501231" y="5180415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bg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bg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  <a:p>
            <a:pPr lvl="1"/>
            <a:endParaRPr lang="en-GB" dirty="0"/>
          </a:p>
        </p:txBody>
      </p:sp>
      <p:sp>
        <p:nvSpPr>
          <p:cNvPr id="122" name="Text Placeholder 7">
            <a:extLst>
              <a:ext uri="{FF2B5EF4-FFF2-40B4-BE49-F238E27FC236}">
                <a16:creationId xmlns:a16="http://schemas.microsoft.com/office/drawing/2014/main" id="{7518E164-611D-4689-8B48-7DF5D36D835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0529893" y="1587230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3" name="Text Placeholder 7">
            <a:extLst>
              <a:ext uri="{FF2B5EF4-FFF2-40B4-BE49-F238E27FC236}">
                <a16:creationId xmlns:a16="http://schemas.microsoft.com/office/drawing/2014/main" id="{C958AAF2-0B1E-411C-A852-85BE5FDBAF8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0529893" y="2100542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4" name="Text Placeholder 7">
            <a:extLst>
              <a:ext uri="{FF2B5EF4-FFF2-40B4-BE49-F238E27FC236}">
                <a16:creationId xmlns:a16="http://schemas.microsoft.com/office/drawing/2014/main" id="{7B09FE3C-4BEC-4B9C-BF6D-7D0EF3E40E1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0529893" y="2613854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5" name="Text Placeholder 7">
            <a:extLst>
              <a:ext uri="{FF2B5EF4-FFF2-40B4-BE49-F238E27FC236}">
                <a16:creationId xmlns:a16="http://schemas.microsoft.com/office/drawing/2014/main" id="{CDC5B3CA-6991-4A97-888D-2B9384E971A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0529893" y="3127166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6" name="Text Placeholder 7">
            <a:extLst>
              <a:ext uri="{FF2B5EF4-FFF2-40B4-BE49-F238E27FC236}">
                <a16:creationId xmlns:a16="http://schemas.microsoft.com/office/drawing/2014/main" id="{CFE8F25B-35AE-451E-950A-9A950737FA0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0529893" y="3640478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7" name="Text Placeholder 7">
            <a:extLst>
              <a:ext uri="{FF2B5EF4-FFF2-40B4-BE49-F238E27FC236}">
                <a16:creationId xmlns:a16="http://schemas.microsoft.com/office/drawing/2014/main" id="{E50E0A9B-0023-41F1-AA32-8B0D9D2A57D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0529893" y="4153790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8" name="Text Placeholder 7">
            <a:extLst>
              <a:ext uri="{FF2B5EF4-FFF2-40B4-BE49-F238E27FC236}">
                <a16:creationId xmlns:a16="http://schemas.microsoft.com/office/drawing/2014/main" id="{ACDE9EFC-7E92-4E9F-BEA0-2EA4B96112F3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0529893" y="4667102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9" name="Text Placeholder 7">
            <a:extLst>
              <a:ext uri="{FF2B5EF4-FFF2-40B4-BE49-F238E27FC236}">
                <a16:creationId xmlns:a16="http://schemas.microsoft.com/office/drawing/2014/main" id="{ED2CCD12-646B-4C35-BAF7-F15228E80035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529893" y="5180415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bg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63AFF5B-3AD3-4AB0-AC56-D804550AEB1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5501231" y="1933576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1" name="Text Placeholder 9">
            <a:extLst>
              <a:ext uri="{FF2B5EF4-FFF2-40B4-BE49-F238E27FC236}">
                <a16:creationId xmlns:a16="http://schemas.microsoft.com/office/drawing/2014/main" id="{044946A9-736A-4E24-8FD1-DE7D8B32B893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5501231" y="2446888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2" name="Text Placeholder 9">
            <a:extLst>
              <a:ext uri="{FF2B5EF4-FFF2-40B4-BE49-F238E27FC236}">
                <a16:creationId xmlns:a16="http://schemas.microsoft.com/office/drawing/2014/main" id="{310AC24F-E6FF-42BB-AFA7-C6B504991CA3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5501231" y="2960200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3" name="Text Placeholder 9">
            <a:extLst>
              <a:ext uri="{FF2B5EF4-FFF2-40B4-BE49-F238E27FC236}">
                <a16:creationId xmlns:a16="http://schemas.microsoft.com/office/drawing/2014/main" id="{48068E45-E330-4884-8046-71B1100AD03A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01231" y="3473512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4" name="Text Placeholder 9">
            <a:extLst>
              <a:ext uri="{FF2B5EF4-FFF2-40B4-BE49-F238E27FC236}">
                <a16:creationId xmlns:a16="http://schemas.microsoft.com/office/drawing/2014/main" id="{2089C62D-B616-4AF6-9FD3-5F4DB15330D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501231" y="3986824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5" name="Text Placeholder 9">
            <a:extLst>
              <a:ext uri="{FF2B5EF4-FFF2-40B4-BE49-F238E27FC236}">
                <a16:creationId xmlns:a16="http://schemas.microsoft.com/office/drawing/2014/main" id="{B0DCA49B-64FF-4810-B885-9095AD7B77B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501231" y="4500136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6" name="Text Placeholder 9">
            <a:extLst>
              <a:ext uri="{FF2B5EF4-FFF2-40B4-BE49-F238E27FC236}">
                <a16:creationId xmlns:a16="http://schemas.microsoft.com/office/drawing/2014/main" id="{3E5854F0-F9A3-4108-B5C5-19EC8D33616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501231" y="5013448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7" name="Text Placeholder 9">
            <a:extLst>
              <a:ext uri="{FF2B5EF4-FFF2-40B4-BE49-F238E27FC236}">
                <a16:creationId xmlns:a16="http://schemas.microsoft.com/office/drawing/2014/main" id="{743E6A60-6CA9-40C2-9F18-E189B497E9A9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01231" y="5526761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6" name="Text Placeholder Logo">
            <a:extLst>
              <a:ext uri="{FF2B5EF4-FFF2-40B4-BE49-F238E27FC236}">
                <a16:creationId xmlns:a16="http://schemas.microsoft.com/office/drawing/2014/main" id="{C3D6463F-FB95-442E-8DA7-F8625FA50CA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F0644C74-EB57-4B2A-B0D9-C90C38D0C6B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7D12ECC-102A-4F16-8461-27A34168FF2D}"/>
              </a:ext>
            </a:extLst>
          </p:cNvPr>
          <p:cNvSpPr>
            <a:spLocks noGrp="1"/>
          </p:cNvSpPr>
          <p:nvPr>
            <p:ph type="dt" sz="half" idx="9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79B7B9A-CC35-4D20-9325-B937AA8AD2C4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B1E86E-A6EF-431D-B271-9146187F993B}"/>
              </a:ext>
            </a:extLst>
          </p:cNvPr>
          <p:cNvSpPr>
            <a:spLocks noGrp="1"/>
          </p:cNvSpPr>
          <p:nvPr>
            <p:ph type="ftr" sz="quarter" idx="9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652C77-A246-40D1-ACA2-1E732D6A9C85}"/>
              </a:ext>
            </a:extLst>
          </p:cNvPr>
          <p:cNvSpPr>
            <a:spLocks noGrp="1"/>
          </p:cNvSpPr>
          <p:nvPr>
            <p:ph type="sldNum" sz="quarter" idx="9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127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Two">
    <p:bg>
      <p:bgPr>
        <a:solidFill>
          <a:srgbClr val="A2A9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833A2D-A0B6-42AC-AC5D-BB3CCCC79F59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314" y="2766216"/>
            <a:ext cx="5088156" cy="1325563"/>
          </a:xfrm>
        </p:spPr>
        <p:txBody>
          <a:bodyPr anchor="ctr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able of contents:</a:t>
            </a:r>
            <a:br>
              <a:rPr lang="en-GB" dirty="0"/>
            </a:br>
            <a:r>
              <a:rPr lang="en-GB" dirty="0"/>
              <a:t>enter text her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0257FA15-DEBC-4684-9FBF-737C7DC0B4B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501231" y="1584960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7D3F0408-7C3C-43EA-984E-3A54A92867B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01231" y="2098596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38544E23-6DC6-4257-B556-1AB86A8F65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01231" y="2612232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6" name="Text Placeholder 7">
            <a:extLst>
              <a:ext uri="{FF2B5EF4-FFF2-40B4-BE49-F238E27FC236}">
                <a16:creationId xmlns:a16="http://schemas.microsoft.com/office/drawing/2014/main" id="{092912F5-DC33-4FAC-827C-882DC8B0F0F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501231" y="3125868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7" name="Text Placeholder 7">
            <a:extLst>
              <a:ext uri="{FF2B5EF4-FFF2-40B4-BE49-F238E27FC236}">
                <a16:creationId xmlns:a16="http://schemas.microsoft.com/office/drawing/2014/main" id="{257599C0-3CDF-433F-A820-E6899FA4B91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01231" y="3639504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19" name="Text Placeholder 7">
            <a:extLst>
              <a:ext uri="{FF2B5EF4-FFF2-40B4-BE49-F238E27FC236}">
                <a16:creationId xmlns:a16="http://schemas.microsoft.com/office/drawing/2014/main" id="{82B83A46-075E-4890-9703-E95F04101D6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501231" y="4153140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20" name="Text Placeholder 7">
            <a:extLst>
              <a:ext uri="{FF2B5EF4-FFF2-40B4-BE49-F238E27FC236}">
                <a16:creationId xmlns:a16="http://schemas.microsoft.com/office/drawing/2014/main" id="{CFD9CED5-D081-4BDE-90A5-01915CF86F7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501231" y="4666776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21" name="Text Placeholder 7">
            <a:extLst>
              <a:ext uri="{FF2B5EF4-FFF2-40B4-BE49-F238E27FC236}">
                <a16:creationId xmlns:a16="http://schemas.microsoft.com/office/drawing/2014/main" id="{CF3A012D-2D79-4301-9F7E-2727B8DFBCAB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501231" y="5180415"/>
            <a:ext cx="4380163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None/>
              <a:defRPr lang="en-US" sz="1400" smtClean="0">
                <a:solidFill>
                  <a:schemeClr val="tx1"/>
                </a:solidFill>
              </a:defRPr>
            </a:lvl1pPr>
            <a:lvl2pPr marL="180000" indent="0" algn="l">
              <a:buNone/>
              <a:defRPr lang="en-US" sz="1400" smtClean="0">
                <a:solidFill>
                  <a:schemeClr val="tx1"/>
                </a:solidFill>
              </a:defRPr>
            </a:lvl2pPr>
            <a:lvl3pPr marL="360000" indent="0" algn="l">
              <a:buNone/>
              <a:defRPr lang="en-US" sz="1400" smtClean="0">
                <a:solidFill>
                  <a:schemeClr val="tx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nter text here</a:t>
            </a:r>
          </a:p>
        </p:txBody>
      </p:sp>
      <p:sp>
        <p:nvSpPr>
          <p:cNvPr id="122" name="Text Placeholder 7">
            <a:extLst>
              <a:ext uri="{FF2B5EF4-FFF2-40B4-BE49-F238E27FC236}">
                <a16:creationId xmlns:a16="http://schemas.microsoft.com/office/drawing/2014/main" id="{7518E164-611D-4689-8B48-7DF5D36D835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0529893" y="1587230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3" name="Text Placeholder 7">
            <a:extLst>
              <a:ext uri="{FF2B5EF4-FFF2-40B4-BE49-F238E27FC236}">
                <a16:creationId xmlns:a16="http://schemas.microsoft.com/office/drawing/2014/main" id="{C958AAF2-0B1E-411C-A852-85BE5FDBAF8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0529893" y="2100542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4" name="Text Placeholder 7">
            <a:extLst>
              <a:ext uri="{FF2B5EF4-FFF2-40B4-BE49-F238E27FC236}">
                <a16:creationId xmlns:a16="http://schemas.microsoft.com/office/drawing/2014/main" id="{7B09FE3C-4BEC-4B9C-BF6D-7D0EF3E40E1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0529893" y="2613854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5" name="Text Placeholder 7">
            <a:extLst>
              <a:ext uri="{FF2B5EF4-FFF2-40B4-BE49-F238E27FC236}">
                <a16:creationId xmlns:a16="http://schemas.microsoft.com/office/drawing/2014/main" id="{CDC5B3CA-6991-4A97-888D-2B9384E971A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10529893" y="3127166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6" name="Text Placeholder 7">
            <a:extLst>
              <a:ext uri="{FF2B5EF4-FFF2-40B4-BE49-F238E27FC236}">
                <a16:creationId xmlns:a16="http://schemas.microsoft.com/office/drawing/2014/main" id="{CFE8F25B-35AE-451E-950A-9A950737FA0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0529893" y="3640478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7" name="Text Placeholder 7">
            <a:extLst>
              <a:ext uri="{FF2B5EF4-FFF2-40B4-BE49-F238E27FC236}">
                <a16:creationId xmlns:a16="http://schemas.microsoft.com/office/drawing/2014/main" id="{E50E0A9B-0023-41F1-AA32-8B0D9D2A57D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0529893" y="4153790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8" name="Text Placeholder 7">
            <a:extLst>
              <a:ext uri="{FF2B5EF4-FFF2-40B4-BE49-F238E27FC236}">
                <a16:creationId xmlns:a16="http://schemas.microsoft.com/office/drawing/2014/main" id="{ACDE9EFC-7E92-4E9F-BEA0-2EA4B96112F3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0529893" y="4667102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29" name="Text Placeholder 7">
            <a:extLst>
              <a:ext uri="{FF2B5EF4-FFF2-40B4-BE49-F238E27FC236}">
                <a16:creationId xmlns:a16="http://schemas.microsoft.com/office/drawing/2014/main" id="{ED2CCD12-646B-4C35-BAF7-F15228E80035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529893" y="5180415"/>
            <a:ext cx="1341120" cy="34634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r">
              <a:buNone/>
              <a:defRPr lang="en-US" sz="1400" smtClean="0">
                <a:solidFill>
                  <a:schemeClr val="tx1"/>
                </a:solidFill>
              </a:defRPr>
            </a:lvl1pPr>
            <a:lvl2pPr algn="r">
              <a:defRPr lang="en-US" sz="1400" smtClean="0">
                <a:solidFill>
                  <a:schemeClr val="bg1"/>
                </a:solidFill>
              </a:defRPr>
            </a:lvl2pPr>
            <a:lvl3pPr algn="r">
              <a:defRPr lang="en-US" sz="1400" smtClean="0">
                <a:solidFill>
                  <a:schemeClr val="bg1"/>
                </a:solidFill>
              </a:defRPr>
            </a:lvl3pPr>
            <a:lvl4pPr algn="l">
              <a:defRPr lang="en-US" sz="1400" smtClean="0">
                <a:solidFill>
                  <a:schemeClr val="bg1"/>
                </a:solidFill>
              </a:defRPr>
            </a:lvl4pPr>
            <a:lvl5pPr algn="l">
              <a:defRPr lang="en-GB"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XXX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63AFF5B-3AD3-4AB0-AC56-D804550AEB1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5501231" y="1933576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1" name="Text Placeholder 9">
            <a:extLst>
              <a:ext uri="{FF2B5EF4-FFF2-40B4-BE49-F238E27FC236}">
                <a16:creationId xmlns:a16="http://schemas.microsoft.com/office/drawing/2014/main" id="{044946A9-736A-4E24-8FD1-DE7D8B32B893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5501231" y="2446888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2" name="Text Placeholder 9">
            <a:extLst>
              <a:ext uri="{FF2B5EF4-FFF2-40B4-BE49-F238E27FC236}">
                <a16:creationId xmlns:a16="http://schemas.microsoft.com/office/drawing/2014/main" id="{310AC24F-E6FF-42BB-AFA7-C6B504991CA3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5501231" y="2960200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3" name="Text Placeholder 9">
            <a:extLst>
              <a:ext uri="{FF2B5EF4-FFF2-40B4-BE49-F238E27FC236}">
                <a16:creationId xmlns:a16="http://schemas.microsoft.com/office/drawing/2014/main" id="{48068E45-E330-4884-8046-71B1100AD03A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501231" y="3473512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4" name="Text Placeholder 9">
            <a:extLst>
              <a:ext uri="{FF2B5EF4-FFF2-40B4-BE49-F238E27FC236}">
                <a16:creationId xmlns:a16="http://schemas.microsoft.com/office/drawing/2014/main" id="{2089C62D-B616-4AF6-9FD3-5F4DB15330D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501231" y="3986824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5" name="Text Placeholder 9">
            <a:extLst>
              <a:ext uri="{FF2B5EF4-FFF2-40B4-BE49-F238E27FC236}">
                <a16:creationId xmlns:a16="http://schemas.microsoft.com/office/drawing/2014/main" id="{B0DCA49B-64FF-4810-B885-9095AD7B77B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501231" y="4500136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6" name="Text Placeholder 9">
            <a:extLst>
              <a:ext uri="{FF2B5EF4-FFF2-40B4-BE49-F238E27FC236}">
                <a16:creationId xmlns:a16="http://schemas.microsoft.com/office/drawing/2014/main" id="{3E5854F0-F9A3-4108-B5C5-19EC8D33616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5501231" y="5013448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37" name="Text Placeholder 9">
            <a:extLst>
              <a:ext uri="{FF2B5EF4-FFF2-40B4-BE49-F238E27FC236}">
                <a16:creationId xmlns:a16="http://schemas.microsoft.com/office/drawing/2014/main" id="{743E6A60-6CA9-40C2-9F18-E189B497E9A9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501231" y="5526761"/>
            <a:ext cx="6270082" cy="144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F0644C74-EB57-4B2A-B0D9-C90C38D0C6B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1A5243D-5419-4896-87F9-D1D875E72FED}"/>
              </a:ext>
            </a:extLst>
          </p:cNvPr>
          <p:cNvSpPr>
            <a:spLocks noGrp="1"/>
          </p:cNvSpPr>
          <p:nvPr>
            <p:ph type="dt" sz="half" idx="96"/>
          </p:nvPr>
        </p:nvSpPr>
        <p:spPr/>
        <p:txBody>
          <a:bodyPr/>
          <a:lstStyle/>
          <a:p>
            <a:fld id="{1DBB822A-DE89-4149-AEF8-F8BC34B75A05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2029B73-4F6C-4806-9470-46ED8DCE4635}"/>
              </a:ext>
            </a:extLst>
          </p:cNvPr>
          <p:cNvSpPr>
            <a:spLocks noGrp="1"/>
          </p:cNvSpPr>
          <p:nvPr>
            <p:ph type="ftr" sz="quarter" idx="9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ABDD70-01EA-400B-9645-308ECD07FDAB}"/>
              </a:ext>
            </a:extLst>
          </p:cNvPr>
          <p:cNvSpPr>
            <a:spLocks noGrp="1"/>
          </p:cNvSpPr>
          <p:nvPr>
            <p:ph type="sldNum" sz="quarter" idx="9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Logo">
            <a:extLst>
              <a:ext uri="{FF2B5EF4-FFF2-40B4-BE49-F238E27FC236}">
                <a16:creationId xmlns:a16="http://schemas.microsoft.com/office/drawing/2014/main" id="{AB8320C3-0C88-30B0-8BFA-BCBF692CC5D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1036017" y="6454726"/>
            <a:ext cx="885600" cy="16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3252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Stat w/Images and Text">
    <p:bg>
      <p:bgPr>
        <a:solidFill>
          <a:srgbClr val="005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Picture Placeholder 11">
            <a:extLst>
              <a:ext uri="{FF2B5EF4-FFF2-40B4-BE49-F238E27FC236}">
                <a16:creationId xmlns:a16="http://schemas.microsoft.com/office/drawing/2014/main" id="{2F11B6B2-461D-4477-BB39-4C82CA5600CD}"/>
              </a:ext>
            </a:extLst>
          </p:cNvPr>
          <p:cNvSpPr>
            <a:spLocks noGrp="1"/>
          </p:cNvSpPr>
          <p:nvPr>
            <p:ph type="pic" sz="quarter" idx="91" hasCustomPrompt="1"/>
          </p:nvPr>
        </p:nvSpPr>
        <p:spPr>
          <a:xfrm>
            <a:off x="0" y="0"/>
            <a:ext cx="3045600" cy="4082400"/>
          </a:xfrm>
        </p:spPr>
        <p:txBody>
          <a:bodyPr vert="horz" lIns="91440" tIns="0" rIns="91440" bIns="1044000" rtlCol="0" anchor="ctr">
            <a:noAutofit/>
          </a:bodyPr>
          <a:lstStyle>
            <a:lvl1pPr algn="ctr">
              <a:buNone/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114" name="Picture Placeholder 11">
            <a:extLst>
              <a:ext uri="{FF2B5EF4-FFF2-40B4-BE49-F238E27FC236}">
                <a16:creationId xmlns:a16="http://schemas.microsoft.com/office/drawing/2014/main" id="{B14D6166-A2E7-4CE6-A20C-E67BF129D270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3048800" y="-3288"/>
            <a:ext cx="3045600" cy="4082400"/>
          </a:xfrm>
        </p:spPr>
        <p:txBody>
          <a:bodyPr vert="horz" lIns="91440" tIns="0" rIns="91440" bIns="1044000" rtlCol="0" anchor="ctr">
            <a:noAutofit/>
          </a:bodyPr>
          <a:lstStyle>
            <a:lvl1pPr algn="ctr">
              <a:buNone/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115" name="Picture Placeholder 11">
            <a:extLst>
              <a:ext uri="{FF2B5EF4-FFF2-40B4-BE49-F238E27FC236}">
                <a16:creationId xmlns:a16="http://schemas.microsoft.com/office/drawing/2014/main" id="{5D1A9E69-4AE1-40D4-9DBC-51A1D1D622C7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6097600" y="-3288"/>
            <a:ext cx="3045600" cy="4082400"/>
          </a:xfrm>
        </p:spPr>
        <p:txBody>
          <a:bodyPr vert="horz" lIns="91440" tIns="0" rIns="91440" bIns="1044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116" name="Picture Placeholder 11">
            <a:extLst>
              <a:ext uri="{FF2B5EF4-FFF2-40B4-BE49-F238E27FC236}">
                <a16:creationId xmlns:a16="http://schemas.microsoft.com/office/drawing/2014/main" id="{00B11D17-F187-4CC6-84E0-146A882ED8A9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9146400" y="0"/>
            <a:ext cx="3045600" cy="4082400"/>
          </a:xfrm>
        </p:spPr>
        <p:txBody>
          <a:bodyPr vert="horz" lIns="91440" tIns="0" rIns="91440" bIns="1044000" rtlCol="0" anchor="ctr">
            <a:noAutofit/>
          </a:bodyPr>
          <a:lstStyle>
            <a:lvl1pPr algn="ctr">
              <a:buNone/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2FB4C5-0710-47AF-ABA5-F5B6C082D1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180" y="2029201"/>
            <a:ext cx="1836000" cy="72214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4400" b="1" smtClean="0">
                <a:solidFill>
                  <a:schemeClr val="bg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A1F785E-6361-4103-99AA-507A53607E8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19620" y="2842245"/>
            <a:ext cx="134112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200" b="0" smtClean="0">
                <a:solidFill>
                  <a:schemeClr val="bg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Enter text her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B823C0A-A4E2-4913-B274-984FD1831B7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43680" y="2029202"/>
            <a:ext cx="1836000" cy="72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4400" b="1" smtClean="0">
                <a:solidFill>
                  <a:schemeClr val="bg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10811F0-DC0A-4294-88B1-E535CA3229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90279" y="2842244"/>
            <a:ext cx="134280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200" b="0" smtClean="0">
                <a:solidFill>
                  <a:schemeClr val="bg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Enter text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F2780A9-CF1D-4809-9841-E76DEF150D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687198" y="2029202"/>
            <a:ext cx="1836000" cy="72214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GB" sz="4400" b="1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694AF5FD-462B-4B92-B41D-56FDB448160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33798" y="2842245"/>
            <a:ext cx="134280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GB" sz="1200" b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 Enter text here</a:t>
            </a:r>
          </a:p>
        </p:txBody>
      </p:sp>
      <p:sp>
        <p:nvSpPr>
          <p:cNvPr id="98" name="Text Placeholder 8">
            <a:extLst>
              <a:ext uri="{FF2B5EF4-FFF2-40B4-BE49-F238E27FC236}">
                <a16:creationId xmlns:a16="http://schemas.microsoft.com/office/drawing/2014/main" id="{2BCA756C-4EF7-46BD-A6DD-6450E9A7EA2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9383247" y="2029202"/>
            <a:ext cx="1836000" cy="72214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GB" sz="4400" b="1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99" name="Text Placeholder 8">
            <a:extLst>
              <a:ext uri="{FF2B5EF4-FFF2-40B4-BE49-F238E27FC236}">
                <a16:creationId xmlns:a16="http://schemas.microsoft.com/office/drawing/2014/main" id="{67E4100B-EE9E-48DC-B40C-772ACE414EA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9629847" y="2842245"/>
            <a:ext cx="134280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GB" sz="1200" b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 Enter text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03484DE-257B-432C-8F6B-EA4A73322B9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5999" y="4079112"/>
            <a:ext cx="11705068" cy="22680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180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bg1"/>
                </a:solidFill>
              </a:defRPr>
            </a:lvl2pPr>
            <a:lvl3pPr>
              <a:defRPr lang="en-US" sz="1800" smtClean="0">
                <a:solidFill>
                  <a:schemeClr val="bg1"/>
                </a:solidFill>
              </a:defRPr>
            </a:lvl3pPr>
            <a:lvl4pPr>
              <a:defRPr lang="en-US" sz="1800" smtClean="0">
                <a:solidFill>
                  <a:schemeClr val="bg1"/>
                </a:solidFill>
              </a:defRPr>
            </a:lvl4pPr>
            <a:lvl5pPr>
              <a:defRPr lang="en-GB" sz="1800">
                <a:solidFill>
                  <a:schemeClr val="bg1"/>
                </a:solidFill>
              </a:defRPr>
            </a:lvl5pPr>
            <a:lvl6pPr>
              <a:defRPr sz="1800">
                <a:solidFill>
                  <a:schemeClr val="bg1"/>
                </a:solidFill>
              </a:defRPr>
            </a:lvl6pPr>
            <a:lvl7pPr>
              <a:defRPr sz="1800">
                <a:solidFill>
                  <a:schemeClr val="bg1"/>
                </a:solidFill>
              </a:defRPr>
            </a:lvl7pPr>
            <a:lvl8pPr>
              <a:defRPr sz="1800">
                <a:solidFill>
                  <a:schemeClr val="bg1"/>
                </a:solidFill>
              </a:defRPr>
            </a:lvl8pPr>
            <a:lvl9pPr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nter text her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1CB3C5-36AC-4A5D-9474-8FE943A24C8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687198" y="1751651"/>
            <a:ext cx="183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3ABC55E-E832-478B-A9B8-BE4B259D17D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74134" y="1751516"/>
            <a:ext cx="1834046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B08D02B4-738A-4EFF-A29E-13C7AE05A3B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74134" y="3633752"/>
            <a:ext cx="1834046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2920E05-C7B9-4DBB-9201-56F5B56D82F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643680" y="1751516"/>
            <a:ext cx="1834046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D0EAC32B-AE13-4D22-BA38-0DA4840CB3A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643680" y="3633752"/>
            <a:ext cx="1834046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78EA792D-CB6C-482E-964B-7B2FBB5A22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467180" y="2840444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B0E27BE5-5C60-4910-AD05-FABFC865B43C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138680" y="2840444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07" name="Text Placeholder 16">
            <a:extLst>
              <a:ext uri="{FF2B5EF4-FFF2-40B4-BE49-F238E27FC236}">
                <a16:creationId xmlns:a16="http://schemas.microsoft.com/office/drawing/2014/main" id="{1B77F1BD-47F1-4AEE-9109-83983FC9B1E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381866" y="1751651"/>
            <a:ext cx="183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08" name="Text Placeholder 16">
            <a:extLst>
              <a:ext uri="{FF2B5EF4-FFF2-40B4-BE49-F238E27FC236}">
                <a16:creationId xmlns:a16="http://schemas.microsoft.com/office/drawing/2014/main" id="{D3CDFE77-A873-4F06-95B9-51C4E074DC1D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687198" y="3631952"/>
            <a:ext cx="183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09" name="Text Placeholder 16">
            <a:extLst>
              <a:ext uri="{FF2B5EF4-FFF2-40B4-BE49-F238E27FC236}">
                <a16:creationId xmlns:a16="http://schemas.microsoft.com/office/drawing/2014/main" id="{FB9E7A46-6120-4267-B5DB-949733AB47D2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381866" y="3631952"/>
            <a:ext cx="183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10" name="Text Placeholder 16">
            <a:extLst>
              <a:ext uri="{FF2B5EF4-FFF2-40B4-BE49-F238E27FC236}">
                <a16:creationId xmlns:a16="http://schemas.microsoft.com/office/drawing/2014/main" id="{A1A4987D-E070-429C-902E-37A1D1FE64C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182198" y="2845078"/>
            <a:ext cx="846000" cy="10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12" name="Text Placeholder 16">
            <a:extLst>
              <a:ext uri="{FF2B5EF4-FFF2-40B4-BE49-F238E27FC236}">
                <a16:creationId xmlns:a16="http://schemas.microsoft.com/office/drawing/2014/main" id="{54A38E2A-782A-423C-94A4-986AAF781DA9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876749" y="2845078"/>
            <a:ext cx="846000" cy="10800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cxnSp>
        <p:nvCxnSpPr>
          <p:cNvPr id="118" name="Lige forbindelse 41">
            <a:extLst>
              <a:ext uri="{FF2B5EF4-FFF2-40B4-BE49-F238E27FC236}">
                <a16:creationId xmlns:a16="http://schemas.microsoft.com/office/drawing/2014/main" id="{482FED52-81FC-4731-8482-CF8972445101}"/>
              </a:ext>
            </a:extLst>
          </p:cNvPr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Logo">
            <a:extLst>
              <a:ext uri="{FF2B5EF4-FFF2-40B4-BE49-F238E27FC236}">
                <a16:creationId xmlns:a16="http://schemas.microsoft.com/office/drawing/2014/main" id="{0CC0F55E-EC51-4D53-916F-8E57BC924F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7600" y="6454800"/>
            <a:ext cx="885050" cy="164382"/>
          </a:xfrm>
          <a:prstGeom prst="rect">
            <a:avLst/>
          </a:prstGeom>
        </p:spPr>
      </p:pic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7F07F830-8E55-4751-9DEA-231F9C2D738D}"/>
              </a:ext>
            </a:extLst>
          </p:cNvPr>
          <p:cNvSpPr>
            <a:spLocks noGrp="1"/>
          </p:cNvSpPr>
          <p:nvPr>
            <p:ph type="dt" sz="half" idx="9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A56927-86BA-4344-BB31-D662406BBE58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997DA68-E3FE-4563-A2D2-6D5BEF2F9F7F}"/>
              </a:ext>
            </a:extLst>
          </p:cNvPr>
          <p:cNvSpPr>
            <a:spLocks noGrp="1"/>
          </p:cNvSpPr>
          <p:nvPr>
            <p:ph type="ftr" sz="quarter" idx="9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30DCB09-D6A3-4EC7-AA37-44ED2D3AF459}"/>
              </a:ext>
            </a:extLst>
          </p:cNvPr>
          <p:cNvSpPr>
            <a:spLocks noGrp="1"/>
          </p:cNvSpPr>
          <p:nvPr>
            <p:ph type="sldNum" sz="quarter" idx="9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MSIPCMContentMarking" descr="{&quot;HashCode&quot;:1769350476,&quot;Placement&quot;:&quot;Footer&quot;}">
            <a:extLst>
              <a:ext uri="{FF2B5EF4-FFF2-40B4-BE49-F238E27FC236}">
                <a16:creationId xmlns:a16="http://schemas.microsoft.com/office/drawing/2014/main" id="{7B42949A-730B-924F-E11D-0C717CD4BEF6}"/>
              </a:ext>
            </a:extLst>
          </p:cNvPr>
          <p:cNvSpPr txBox="1"/>
          <p:nvPr userDrawn="1"/>
        </p:nvSpPr>
        <p:spPr>
          <a:xfrm>
            <a:off x="5409699" y="6504434"/>
            <a:ext cx="137260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</a:rPr>
              <a:t>Classification: Confidential
</a:t>
            </a:r>
          </a:p>
        </p:txBody>
      </p:sp>
    </p:spTree>
    <p:extLst>
      <p:ext uri="{BB962C8B-B14F-4D97-AF65-F5344CB8AC3E}">
        <p14:creationId xmlns:p14="http://schemas.microsoft.com/office/powerpoint/2010/main" val="154577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Image 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17D2E09-D376-436A-B0B7-DDB56AFD15F6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0" y="0"/>
            <a:ext cx="12192000" cy="6858000"/>
          </a:xfrm>
        </p:spPr>
        <p:txBody>
          <a:bodyPr lIns="0" tIns="72000" rIns="0" bIns="0"/>
          <a:lstStyle>
            <a:lvl1pPr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select an image from the image library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6269C1-872D-4B0D-8C26-58E14D979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998" y="365125"/>
            <a:ext cx="11693525" cy="461961"/>
          </a:xfrm>
        </p:spPr>
        <p:txBody>
          <a:bodyPr anchor="t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title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2BF1304-FC65-4932-AA8E-1795D04E35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95" y="923703"/>
            <a:ext cx="11692828" cy="458385"/>
          </a:xfrm>
        </p:spPr>
        <p:txBody>
          <a:bodyPr tIns="4680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nter sub-hea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2FB4C5-0710-47AF-ABA5-F5B6C082D1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180" y="2961468"/>
            <a:ext cx="1836000" cy="72214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44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A1F785E-6361-4103-99AA-507A53607E8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19620" y="3774512"/>
            <a:ext cx="134112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200" b="0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Enter text her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B823C0A-A4E2-4913-B274-984FD1831B7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78000" y="2961469"/>
            <a:ext cx="1836000" cy="72360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4400" b="1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10811F0-DC0A-4294-88B1-E535CA3229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24599" y="3774511"/>
            <a:ext cx="1342800" cy="72691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200" b="0" smtClean="0">
                <a:solidFill>
                  <a:schemeClr val="tx1"/>
                </a:solidFill>
              </a:defRPr>
            </a:lvl1pPr>
            <a:lvl2pPr marL="191995" indent="0">
              <a:buNone/>
              <a:defRPr lang="en-US" sz="14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GB" sz="1100"/>
            </a:lvl5pPr>
          </a:lstStyle>
          <a:p>
            <a:pPr lvl="0" algn="ctr"/>
            <a:r>
              <a:rPr lang="en-GB" dirty="0"/>
              <a:t>Enter text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F2780A9-CF1D-4809-9841-E76DEF150D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47080" y="2961469"/>
            <a:ext cx="1836000" cy="722140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GB" sz="4400" b="1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XXX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694AF5FD-462B-4B92-B41D-56FDB448160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93680" y="3774512"/>
            <a:ext cx="1342800" cy="726913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 Enter text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428967E8-173E-47F3-9888-155577379A8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47081" y="2683783"/>
            <a:ext cx="183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AAA771A-22F5-4095-AD0D-F457F988699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247082" y="4565147"/>
            <a:ext cx="1835999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61F6594-1849-4563-99D8-4A68B05D94E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78000" y="2683783"/>
            <a:ext cx="183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B2C2258-011C-43C2-BDEC-02468E6218C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78001" y="4565147"/>
            <a:ext cx="1835999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13FBDE-6C5D-4AC9-9DC9-DA148FD5AF2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74133" y="2683783"/>
            <a:ext cx="183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9706170-7353-41A4-8DF4-831D8572E8C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4134" y="4565147"/>
            <a:ext cx="1835999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7C3EE72C-CCD7-433D-A11F-EC92771F6FD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467180" y="3770911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650B4CEC-8104-4C7F-8099-8D65D64F193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672159" y="3770911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05166E8D-4661-4849-8A57-619E3EA8C7F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742080" y="3770911"/>
            <a:ext cx="846000" cy="108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CF779E32-1575-4135-86EC-8356761139D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27080" y="869140"/>
            <a:ext cx="846000" cy="108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9A4D263-D5CD-447E-8702-298174BD5F78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 rot="5400000">
            <a:off x="553751" y="6565616"/>
            <a:ext cx="190800" cy="10800"/>
          </a:xfrm>
          <a:solidFill>
            <a:schemeClr val="bg1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6C20E57-03E2-4F20-9C86-7AFCCD58B26D}"/>
              </a:ext>
            </a:extLst>
          </p:cNvPr>
          <p:cNvSpPr>
            <a:spLocks noGrp="1"/>
          </p:cNvSpPr>
          <p:nvPr>
            <p:ph type="dt" sz="half" idx="71"/>
          </p:nvPr>
        </p:nvSpPr>
        <p:spPr/>
        <p:txBody>
          <a:bodyPr/>
          <a:lstStyle/>
          <a:p>
            <a:fld id="{7A8DECAF-95FC-4DD4-8BF2-F6D300B2B5A8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B0419C5-931F-4AFC-B535-EB510ED6DCB9}"/>
              </a:ext>
            </a:extLst>
          </p:cNvPr>
          <p:cNvSpPr>
            <a:spLocks noGrp="1"/>
          </p:cNvSpPr>
          <p:nvPr>
            <p:ph type="ftr" sz="quarter" idx="7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F21A1C-77D3-4A96-9985-C344DDE7FD81}"/>
              </a:ext>
            </a:extLst>
          </p:cNvPr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0584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F4B05-4813-4C1C-A8F3-718FF1F5E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59735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590" imgH="605" progId="TCLayout.ActiveDocument.1">
                  <p:embed/>
                </p:oleObj>
              </mc:Choice>
              <mc:Fallback>
                <p:oleObj name="think-cell Slide" r:id="rId41" imgW="590" imgH="6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F4B05-4813-4C1C-A8F3-718FF1F5E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4E305D-C1AC-4029-B0C2-83F0652D3AB8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96967FA-4D6E-984C-BF9A-7EED39DB5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8" y="365125"/>
            <a:ext cx="116935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A2C099C-094A-F840-88E9-6B76DD5AB8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5998" y="1825625"/>
            <a:ext cx="1169352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63" name="Lige forbindelse 62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forbindelse 21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ge forbindelse 33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forbindelse 41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/>
          <p:cNvCxnSpPr/>
          <p:nvPr userDrawn="1"/>
        </p:nvCxnSpPr>
        <p:spPr>
          <a:xfrm>
            <a:off x="650488" y="6475617"/>
            <a:ext cx="0" cy="19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080" y="6425264"/>
            <a:ext cx="4548407" cy="2943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5998" y="6426000"/>
            <a:ext cx="323279" cy="2943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AFCB0DEF-0313-43CE-8806-B644FC9EC85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CE96E730-A63D-451A-922C-003FF726E39A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235" y="6452108"/>
            <a:ext cx="885050" cy="1643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9A0026-E048-4041-A281-79D87E5B71C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46725" y="6672580"/>
            <a:ext cx="11207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Confidentia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3AC3FB-1F6E-4EEC-8CC3-640189464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-5400000">
            <a:off x="10639201" y="4235985"/>
            <a:ext cx="2743200" cy="17190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lang="en-GB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1361A35-B912-48E3-B57C-80A403EB0375}" type="datetime4">
              <a:rPr lang="en-GB" smtClean="0"/>
              <a:t>0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1114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90" r:id="rId2"/>
    <p:sldLayoutId id="2147483789" r:id="rId3"/>
    <p:sldLayoutId id="2147483732" r:id="rId4"/>
    <p:sldLayoutId id="2147483784" r:id="rId5"/>
    <p:sldLayoutId id="2147483735" r:id="rId6"/>
    <p:sldLayoutId id="2147483785" r:id="rId7"/>
    <p:sldLayoutId id="2147483734" r:id="rId8"/>
    <p:sldLayoutId id="2147483720" r:id="rId9"/>
    <p:sldLayoutId id="2147483723" r:id="rId10"/>
    <p:sldLayoutId id="2147483737" r:id="rId11"/>
    <p:sldLayoutId id="2147483738" r:id="rId12"/>
    <p:sldLayoutId id="2147483741" r:id="rId13"/>
    <p:sldLayoutId id="2147483742" r:id="rId14"/>
    <p:sldLayoutId id="2147483782" r:id="rId15"/>
    <p:sldLayoutId id="2147483783" r:id="rId16"/>
    <p:sldLayoutId id="2147483746" r:id="rId17"/>
    <p:sldLayoutId id="2147483744" r:id="rId18"/>
    <p:sldLayoutId id="2147483776" r:id="rId19"/>
    <p:sldLayoutId id="2147483753" r:id="rId20"/>
    <p:sldLayoutId id="2147483755" r:id="rId21"/>
    <p:sldLayoutId id="2147483759" r:id="rId22"/>
    <p:sldLayoutId id="2147483760" r:id="rId23"/>
    <p:sldLayoutId id="2147483787" r:id="rId24"/>
    <p:sldLayoutId id="2147483788" r:id="rId25"/>
    <p:sldLayoutId id="2147483761" r:id="rId26"/>
    <p:sldLayoutId id="2147483762" r:id="rId27"/>
    <p:sldLayoutId id="2147483763" r:id="rId28"/>
    <p:sldLayoutId id="2147483764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65" r:id="rId36"/>
    <p:sldLayoutId id="2147483786" r:id="rId37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GB" sz="2600" kern="1200" noProof="0" dirty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spcBef>
          <a:spcPts val="0"/>
        </a:spcBef>
        <a:spcAft>
          <a:spcPts val="530"/>
        </a:spcAft>
        <a:buClrTx/>
        <a:buFont typeface="Arial" panose="020B0604020202020204" pitchFamily="34" charset="0"/>
        <a:buNone/>
        <a:defRPr lang="en-GB" sz="2400" kern="1200" noProof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0000" indent="-180000" algn="l" defTabSz="914377" rtl="0" eaLnBrk="1" latinLnBrk="0" hangingPunct="1">
        <a:spcBef>
          <a:spcPts val="0"/>
        </a:spcBef>
        <a:spcAft>
          <a:spcPts val="530"/>
        </a:spcAft>
        <a:buClrTx/>
        <a:buFont typeface="Arial" panose="020B0604020202020204" pitchFamily="34" charset="0"/>
        <a:buChar char="•"/>
        <a:defRPr lang="en-GB" sz="2400" kern="1200" noProof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40000" indent="-180000" algn="l" defTabSz="914377" rtl="0" eaLnBrk="1" latinLnBrk="0" hangingPunct="1">
        <a:spcBef>
          <a:spcPts val="0"/>
        </a:spcBef>
        <a:spcAft>
          <a:spcPts val="533"/>
        </a:spcAft>
        <a:buClrTx/>
        <a:buFont typeface="Arial" panose="020B0604020202020204" pitchFamily="34" charset="0"/>
        <a:buChar char="•"/>
        <a:defRPr lang="en-GB" sz="2400" kern="1200" noProof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20000" indent="-180000" algn="l" defTabSz="914377" rtl="0" eaLnBrk="1" latinLnBrk="0" hangingPunct="1">
        <a:spcBef>
          <a:spcPts val="0"/>
        </a:spcBef>
        <a:spcAft>
          <a:spcPts val="530"/>
        </a:spcAft>
        <a:buClrTx/>
        <a:buFont typeface="Arial" panose="020B0604020202020204" pitchFamily="34" charset="0"/>
        <a:buChar char="•"/>
        <a:defRPr lang="en-GB" sz="2400" kern="1200" noProof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00000" indent="-180000" algn="l" defTabSz="914377" rtl="0" eaLnBrk="1" latinLnBrk="0" hangingPunct="1">
        <a:spcBef>
          <a:spcPts val="0"/>
        </a:spcBef>
        <a:spcAft>
          <a:spcPts val="530"/>
        </a:spcAft>
        <a:buClrTx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00000" indent="-180000" algn="l" defTabSz="914377" rtl="0" eaLnBrk="1" latinLnBrk="0" hangingPunct="1">
        <a:spcBef>
          <a:spcPts val="0"/>
        </a:spcBef>
        <a:spcAft>
          <a:spcPts val="53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377" rtl="0" eaLnBrk="1" latinLnBrk="0" hangingPunct="1">
        <a:spcBef>
          <a:spcPts val="0"/>
        </a:spcBef>
        <a:spcAft>
          <a:spcPts val="53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377" rtl="0" eaLnBrk="1" latinLnBrk="0" hangingPunct="1">
        <a:spcBef>
          <a:spcPts val="0"/>
        </a:spcBef>
        <a:spcAft>
          <a:spcPts val="53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377" rtl="0" eaLnBrk="1" latinLnBrk="0" hangingPunct="1">
        <a:spcBef>
          <a:spcPts val="0"/>
        </a:spcBef>
        <a:spcAft>
          <a:spcPts val="53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650">
          <p15:clr>
            <a:srgbClr val="F26B43"/>
          </p15:clr>
        </p15:guide>
        <p15:guide id="9" pos="135" userDrawn="1">
          <p15:clr>
            <a:srgbClr val="F26B43"/>
          </p15:clr>
        </p15:guide>
        <p15:guide id="10" pos="7503" userDrawn="1">
          <p15:clr>
            <a:srgbClr val="F26B43"/>
          </p15:clr>
        </p15:guide>
        <p15:guide id="11" orient="horz" pos="373">
          <p15:clr>
            <a:srgbClr val="F26B43"/>
          </p15:clr>
        </p15:guide>
        <p15:guide id="12" orient="horz" pos="2914">
          <p15:clr>
            <a:srgbClr val="F26B43"/>
          </p15:clr>
        </p15:guide>
        <p15:guide id="13" orient="horz" pos="3127">
          <p15:clr>
            <a:srgbClr val="F26B43"/>
          </p15:clr>
        </p15:guide>
        <p15:guide id="14" orient="horz" pos="55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57F1F53-6748-451A-718E-F6EA308F4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90C4885-EAC9-6492-A642-F02C23518A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3F0E55A-0598-5F95-661D-9D844D911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7FB60-BF3C-4081-9AB7-A4E16EDB9E9D}" type="datetimeFigureOut">
              <a:rPr lang="sv-SE" smtClean="0"/>
              <a:t>2024-09-0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7C21EE0-170C-18B8-07C0-D07712439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92E3172-FA6F-677C-3254-E602B0F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855755-DE42-431D-889F-A55AD89DA0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8211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arne.bartels@posteo.net" TargetMode="External"/><Relationship Id="rId2" Type="http://schemas.openxmlformats.org/officeDocument/2006/relationships/hyperlink" Target="mailto:arba@vestas.com" TargetMode="External"/><Relationship Id="rId1" Type="http://schemas.openxmlformats.org/officeDocument/2006/relationships/slideLayout" Target="../slideLayouts/slideLayout23.xml"/><Relationship Id="rId5" Type="http://schemas.openxmlformats.org/officeDocument/2006/relationships/hyperlink" Target="https://github.com/bartelsarne/DataSaturdayArneBartels" TargetMode="External"/><Relationship Id="rId4" Type="http://schemas.openxmlformats.org/officeDocument/2006/relationships/hyperlink" Target="https://www.linkedin.com/in/arne-bartels-03b66b59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hyperlink" Target="https://github.com/bartelsarne/DataSaturdayArneBartels" TargetMode="Externa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6" Type="http://schemas.openxmlformats.org/officeDocument/2006/relationships/hyperlink" Target="https://www.linkedin.com/in/arne-bartels-03b66b59" TargetMode="External"/><Relationship Id="rId5" Type="http://schemas.openxmlformats.org/officeDocument/2006/relationships/hyperlink" Target="mailto:arne.bartels@posteo.net" TargetMode="External"/><Relationship Id="rId4" Type="http://schemas.openxmlformats.org/officeDocument/2006/relationships/hyperlink" Target="mailto:arba@vestas.com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tackoverflow.com/questions/65013423/script-task-on-sql-server-works-after-rebuilt-or-migration" TargetMode="External"/><Relationship Id="rId2" Type="http://schemas.openxmlformats.org/officeDocument/2006/relationships/hyperlink" Target="https://learn.microsoft.com/en-us/answers/questions/1368476/compiling-script-components-in-ssis-package-throug" TargetMode="Externa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learn.microsoft.com/en-us/answers/questions/478990/ssis-script-component-failing-after-upgrading-fr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0CA1D5-7FA3-23ED-5195-9CEFDD979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panose="020B0604020202020204" pitchFamily="34" charset="0"/>
              </a:rPr>
              <a:t>Upgrade SSIS packages safely</a:t>
            </a:r>
            <a:endParaRPr lang="en-GB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D9CE00-A9EC-C9C1-8857-911FF3630F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rne Barte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8F9F1-CE4D-7216-3FCE-D01709AA2BEA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/>
        <p:txBody>
          <a:bodyPr/>
          <a:lstStyle/>
          <a:p>
            <a:r>
              <a:rPr lang="en-US" dirty="0"/>
              <a:t>Lead Datawarehouse Developer </a:t>
            </a:r>
          </a:p>
          <a:p>
            <a:r>
              <a:rPr lang="en-US" dirty="0"/>
              <a:t>Vestas Wind Systems</a:t>
            </a:r>
          </a:p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CAA1C62-6E56-FC8E-BB5A-D9C88EB717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71596" y="4007352"/>
            <a:ext cx="3884400" cy="252000"/>
          </a:xfrm>
        </p:spPr>
        <p:txBody>
          <a:bodyPr/>
          <a:lstStyle/>
          <a:p>
            <a:r>
              <a:rPr lang="en-GB" dirty="0"/>
              <a:t>07 September 2024</a:t>
            </a:r>
          </a:p>
        </p:txBody>
      </p:sp>
      <p:pic>
        <p:nvPicPr>
          <p:cNvPr id="18" name="Picture Placeholder 17" descr="A wind turbine with a blue sky&#10;&#10;Description automatically generated">
            <a:extLst>
              <a:ext uri="{FF2B5EF4-FFF2-40B4-BE49-F238E27FC236}">
                <a16:creationId xmlns:a16="http://schemas.microsoft.com/office/drawing/2014/main" id="{65EFB6E6-7736-372F-4C5E-FEC1893B76C5}"/>
              </a:ext>
            </a:extLst>
          </p:cNvPr>
          <p:cNvPicPr>
            <a:picLocks noGrp="1" noChangeAspect="1"/>
          </p:cNvPicPr>
          <p:nvPr>
            <p:ph type="pic" sz="quarter" idx="6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993440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BD0F7-C873-1B30-D989-DF1C89A72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OL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8087E6-ED52-0E38-0831-E782E324A3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dea: create modular </a:t>
            </a:r>
            <a:r>
              <a:rPr lang="en-US" dirty="0" err="1"/>
              <a:t>commandline</a:t>
            </a:r>
            <a:r>
              <a:rPr lang="en-US" dirty="0"/>
              <a:t> tools that can only one simple task but can be easily combined to taste and need. NOTE: all are to be considered as public domain, use at own taste (and risk)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33DBEA-4140-1503-6F9F-CBE66E3128A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16695" y="1643449"/>
            <a:ext cx="11694314" cy="4643384"/>
          </a:xfrm>
        </p:spPr>
        <p:txBody>
          <a:bodyPr/>
          <a:lstStyle/>
          <a:p>
            <a:r>
              <a:rPr lang="en-US" sz="1800" dirty="0"/>
              <a:t>Usage Recompile2Latest {</a:t>
            </a:r>
            <a:r>
              <a:rPr lang="en-US" sz="1800" dirty="0" err="1"/>
              <a:t>project.ispac</a:t>
            </a:r>
            <a:r>
              <a:rPr lang="en-US" sz="1800" dirty="0"/>
              <a:t> </a:t>
            </a:r>
            <a:r>
              <a:rPr lang="en-US" sz="1800" dirty="0" err="1"/>
              <a:t>project.dtproj</a:t>
            </a:r>
            <a:r>
              <a:rPr lang="en-US" sz="1800" dirty="0"/>
              <a:t> </a:t>
            </a:r>
            <a:r>
              <a:rPr lang="en-US" sz="1800" dirty="0" err="1"/>
              <a:t>package.dtsx</a:t>
            </a:r>
            <a:r>
              <a:rPr lang="en-US" sz="1800" dirty="0"/>
              <a:t> </a:t>
            </a:r>
            <a:r>
              <a:rPr lang="en-US" sz="1800" dirty="0" err="1"/>
              <a:t>package_folder</a:t>
            </a:r>
            <a:r>
              <a:rPr lang="en-US" sz="1800" dirty="0"/>
              <a:t>\\*.</a:t>
            </a:r>
            <a:r>
              <a:rPr lang="en-US" sz="1800" dirty="0" err="1"/>
              <a:t>dtsx</a:t>
            </a:r>
            <a:r>
              <a:rPr lang="en-US" sz="1800" dirty="0"/>
              <a:t> }  [</a:t>
            </a:r>
            <a:r>
              <a:rPr lang="en-US" sz="1800" dirty="0" err="1"/>
              <a:t>destinationpath</a:t>
            </a:r>
            <a:r>
              <a:rPr lang="en-US" sz="1800" dirty="0"/>
              <a:t>]</a:t>
            </a:r>
          </a:p>
          <a:p>
            <a:r>
              <a:rPr lang="en-US" sz="1800" dirty="0"/>
              <a:t>This tool will traverse all packages of a project or a collection of packages and compile all scripts (Tasks and Components) it finds to the </a:t>
            </a:r>
            <a:r>
              <a:rPr lang="en-US" sz="1800" i="1" dirty="0"/>
              <a:t>latest</a:t>
            </a:r>
            <a:r>
              <a:rPr lang="en-US" sz="1800" dirty="0"/>
              <a:t> version.</a:t>
            </a:r>
          </a:p>
          <a:p>
            <a:r>
              <a:rPr lang="en-US" sz="1800" dirty="0"/>
              <a:t> Technically a .</a:t>
            </a:r>
            <a:r>
              <a:rPr lang="en-US" sz="1800" dirty="0" err="1"/>
              <a:t>dtsx</a:t>
            </a:r>
            <a:r>
              <a:rPr lang="en-US" sz="1800" dirty="0"/>
              <a:t> can be traversed recursively for each executable level. Much like a BIML file is structured (unsurprisingly as it is an intermediate language to do exactly this). Caveat: the current program version will always upgrade to SQL2019 irrespective of </a:t>
            </a:r>
            <a:r>
              <a:rPr lang="en-US" sz="1800" i="1" dirty="0"/>
              <a:t>any</a:t>
            </a:r>
            <a:r>
              <a:rPr lang="en-US" sz="1800" dirty="0"/>
              <a:t> other project setting!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19FD1F-1E92-A237-3DEC-C9C99E2FBFF9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8A5DE4-1775-01C3-4F07-4196DF55EAC5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B7FF81-CFCE-7435-30F0-38D4413F9DA3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039A2E-2BA2-1670-37E2-BAA83F7EE8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91" y="3530207"/>
            <a:ext cx="1873721" cy="2825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4276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1D6EE-0241-EBA3-5BBF-4ABECCB46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58A997-B4B9-9E6B-AA3E-CF426D133B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RestoreCodeFromBackup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EBEC87-E9F0-69F5-6154-A1FE03273B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sz="1800" dirty="0"/>
              <a:t>Usage </a:t>
            </a:r>
            <a:r>
              <a:rPr lang="en-US" sz="1800" dirty="0" err="1"/>
              <a:t>RestoreCodeFromBackup</a:t>
            </a:r>
            <a:r>
              <a:rPr lang="en-US" sz="1800" dirty="0"/>
              <a:t> {</a:t>
            </a:r>
            <a:r>
              <a:rPr lang="en-US" sz="1800" dirty="0" err="1"/>
              <a:t>input.ispac</a:t>
            </a:r>
            <a:r>
              <a:rPr lang="en-US" sz="1800" dirty="0"/>
              <a:t> </a:t>
            </a:r>
            <a:r>
              <a:rPr lang="en-US" sz="1800" dirty="0" err="1"/>
              <a:t>input.proj</a:t>
            </a:r>
            <a:r>
              <a:rPr lang="en-US" sz="1800" dirty="0"/>
              <a:t> </a:t>
            </a:r>
            <a:r>
              <a:rPr lang="en-US" sz="1800" dirty="0" err="1"/>
              <a:t>input.dtsx</a:t>
            </a:r>
            <a:r>
              <a:rPr lang="en-US" sz="1800" dirty="0"/>
              <a:t> </a:t>
            </a:r>
            <a:r>
              <a:rPr lang="en-US" sz="1800" dirty="0" err="1"/>
              <a:t>input_folder</a:t>
            </a:r>
            <a:r>
              <a:rPr lang="en-US" sz="1800" dirty="0"/>
              <a:t>\\*.</a:t>
            </a:r>
            <a:r>
              <a:rPr lang="en-US" sz="1800" dirty="0" err="1"/>
              <a:t>dtsx</a:t>
            </a:r>
            <a:r>
              <a:rPr lang="en-US" sz="1800" dirty="0"/>
              <a:t> } {</a:t>
            </a:r>
            <a:r>
              <a:rPr lang="en-US" sz="1800" dirty="0" err="1"/>
              <a:t>backup.ispac</a:t>
            </a:r>
            <a:r>
              <a:rPr lang="en-US" sz="1800" dirty="0"/>
              <a:t> </a:t>
            </a:r>
            <a:r>
              <a:rPr lang="en-US" sz="1800" dirty="0" err="1"/>
              <a:t>backup.proj</a:t>
            </a:r>
            <a:r>
              <a:rPr lang="en-US" sz="1800" dirty="0"/>
              <a:t> </a:t>
            </a:r>
            <a:r>
              <a:rPr lang="en-US" sz="1800" dirty="0" err="1"/>
              <a:t>backup.dtsx</a:t>
            </a:r>
            <a:r>
              <a:rPr lang="en-US" sz="1800" dirty="0"/>
              <a:t> </a:t>
            </a:r>
            <a:r>
              <a:rPr lang="en-US" sz="1800" dirty="0" err="1"/>
              <a:t>backup_folder</a:t>
            </a:r>
            <a:r>
              <a:rPr lang="en-US" sz="1800" dirty="0"/>
              <a:t>\\*.</a:t>
            </a:r>
            <a:r>
              <a:rPr lang="en-US" sz="1800" dirty="0" err="1"/>
              <a:t>dtsx</a:t>
            </a:r>
            <a:r>
              <a:rPr lang="en-US" sz="1800" dirty="0"/>
              <a:t> }  [</a:t>
            </a:r>
            <a:r>
              <a:rPr lang="en-US" sz="1800" dirty="0" err="1"/>
              <a:t>destinationpath</a:t>
            </a:r>
            <a:r>
              <a:rPr lang="en-US" sz="1800" dirty="0"/>
              <a:t>]</a:t>
            </a:r>
          </a:p>
          <a:p>
            <a:r>
              <a:rPr lang="en-US" sz="1800" dirty="0"/>
              <a:t>Uses the input to read as deploy </a:t>
            </a:r>
            <a:r>
              <a:rPr lang="en-US" sz="1800" dirty="0" err="1"/>
              <a:t>project,project</a:t>
            </a:r>
            <a:r>
              <a:rPr lang="en-US" sz="1800" dirty="0"/>
              <a:t> or package(s), uses a second (an older backup of older SQL version ?) to read from and restores all missing files or replaces changed relevant ones (</a:t>
            </a:r>
            <a:r>
              <a:rPr lang="en-US" sz="1800" i="1" dirty="0"/>
              <a:t>not</a:t>
            </a:r>
            <a:r>
              <a:rPr lang="en-US" sz="1800" dirty="0"/>
              <a:t> the project or standard files). </a:t>
            </a:r>
          </a:p>
          <a:p>
            <a:r>
              <a:rPr lang="en-US" sz="1800" dirty="0"/>
              <a:t>Caveat: any legitimate edit </a:t>
            </a:r>
            <a:r>
              <a:rPr lang="en-US" sz="1800" i="1" dirty="0"/>
              <a:t>after</a:t>
            </a:r>
            <a:r>
              <a:rPr lang="en-US" sz="1800" dirty="0"/>
              <a:t> taking the backup will be replaced without asking, so be careful with the backup source!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F6E442-5BAF-DE0C-82E9-C27F63171107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4881B-2373-2903-7BF1-ADFADB3B26FF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54E12E-383E-F5CD-EFD7-4DA3771B4730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9" name="Picture 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747C295-7E82-8E59-B104-B72986FFA9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637" y="3774551"/>
            <a:ext cx="5015399" cy="1094767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2CA1D31A-0589-F39F-AB1C-5ED81BAA1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0228" y="3774551"/>
            <a:ext cx="5484383" cy="232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1114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391C4-24AA-7426-4F20-96751382C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IML tools: “just” create a copy in </a:t>
            </a:r>
            <a:r>
              <a:rPr lang="en-GB" dirty="0" err="1"/>
              <a:t>Biml</a:t>
            </a:r>
            <a:r>
              <a:rPr lang="en-GB" dirty="0"/>
              <a:t> and recreate if need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127DD1-0C43-FFBB-E441-E30D8E62F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dirty="0"/>
              <a:t>CopyComponentScript2Bim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C4787-6505-63BE-F301-5BABB73A843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sz="1800" dirty="0" err="1"/>
              <a:t>Bimlscript’s</a:t>
            </a:r>
            <a:r>
              <a:rPr lang="en-US" sz="1800" dirty="0"/>
              <a:t> “Convert SSIS Packages to </a:t>
            </a:r>
            <a:r>
              <a:rPr lang="en-US" sz="1800" dirty="0" err="1"/>
              <a:t>Biml</a:t>
            </a:r>
            <a:r>
              <a:rPr lang="en-US" sz="1800" dirty="0"/>
              <a:t>” omits the code for creating script components, but it </a:t>
            </a:r>
            <a:r>
              <a:rPr lang="en-US" sz="1800" i="1" dirty="0"/>
              <a:t>does</a:t>
            </a:r>
            <a:r>
              <a:rPr lang="en-US" sz="1800" dirty="0"/>
              <a:t> supply the code of </a:t>
            </a:r>
            <a:r>
              <a:rPr lang="en-US" sz="1800" dirty="0" err="1"/>
              <a:t>ScriptTasks</a:t>
            </a:r>
            <a:r>
              <a:rPr lang="en-US" sz="1800" dirty="0"/>
              <a:t>. </a:t>
            </a:r>
          </a:p>
          <a:p>
            <a:r>
              <a:rPr lang="en-US" sz="1800" dirty="0"/>
              <a:t>Usage: CopyComponentScript2Biml </a:t>
            </a:r>
            <a:r>
              <a:rPr lang="en-US" sz="1800" dirty="0" err="1"/>
              <a:t>input.biml</a:t>
            </a:r>
            <a:r>
              <a:rPr lang="en-US" sz="1800" dirty="0"/>
              <a:t>  {</a:t>
            </a:r>
            <a:r>
              <a:rPr lang="en-US" sz="1800" dirty="0" err="1"/>
              <a:t>project.ispac</a:t>
            </a:r>
            <a:r>
              <a:rPr lang="en-US" sz="1800" dirty="0"/>
              <a:t> </a:t>
            </a:r>
            <a:r>
              <a:rPr lang="en-US" sz="1800" dirty="0" err="1"/>
              <a:t>project.dtproj</a:t>
            </a:r>
            <a:r>
              <a:rPr lang="en-US" sz="1800" dirty="0"/>
              <a:t> </a:t>
            </a:r>
            <a:r>
              <a:rPr lang="en-US" sz="1800" dirty="0" err="1"/>
              <a:t>package.dtsx</a:t>
            </a:r>
            <a:r>
              <a:rPr lang="en-US" sz="1800" dirty="0"/>
              <a:t> </a:t>
            </a:r>
            <a:r>
              <a:rPr lang="en-US" sz="1800" dirty="0" err="1"/>
              <a:t>package_folder</a:t>
            </a:r>
            <a:r>
              <a:rPr lang="en-US" sz="1800" dirty="0"/>
              <a:t>\\*.</a:t>
            </a:r>
            <a:r>
              <a:rPr lang="en-US" sz="1800" dirty="0" err="1"/>
              <a:t>dtsx</a:t>
            </a:r>
            <a:r>
              <a:rPr lang="en-US" sz="1800" dirty="0"/>
              <a:t> } [</a:t>
            </a:r>
            <a:r>
              <a:rPr lang="en-US" sz="1800" dirty="0" err="1"/>
              <a:t>result.biml</a:t>
            </a:r>
            <a:r>
              <a:rPr lang="en-US" sz="1800" dirty="0"/>
              <a:t>]</a:t>
            </a:r>
          </a:p>
          <a:p>
            <a:r>
              <a:rPr lang="en-US" sz="1800" dirty="0"/>
              <a:t>This command line tool will read a reference SSIS project, project definition  a single SSIS package or a file search string representing one or more SSIS packages. And then place the missing code in either a different </a:t>
            </a:r>
            <a:r>
              <a:rPr lang="en-US" sz="1800" dirty="0" err="1"/>
              <a:t>biml</a:t>
            </a:r>
            <a:r>
              <a:rPr lang="en-US" sz="1800" dirty="0"/>
              <a:t> file or updates the original one if no third argument is given. Note: </a:t>
            </a:r>
            <a:r>
              <a:rPr lang="en-US" sz="1800" dirty="0" err="1"/>
              <a:t>BIMLExpress</a:t>
            </a:r>
            <a:r>
              <a:rPr lang="en-US" sz="1800" dirty="0"/>
              <a:t> </a:t>
            </a:r>
            <a:r>
              <a:rPr lang="en-US" sz="1800" i="1" dirty="0"/>
              <a:t>actually</a:t>
            </a:r>
            <a:r>
              <a:rPr lang="en-US" sz="1800" dirty="0"/>
              <a:t> produces SQL2017 packages that are updated if opened.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D9E799-02C4-22E9-4725-CB8EABE82B94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44D789-94AA-0A18-BA40-824F7BE85B3F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C23205-6F32-088A-12F9-8C98F0D75E91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9" name="Picture 8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BE574804-5E19-F0AB-BDFC-35D22FDE8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91" y="3838324"/>
            <a:ext cx="5431539" cy="2545126"/>
          </a:xfrm>
          <a:prstGeom prst="rect">
            <a:avLst/>
          </a:prstGeom>
        </p:spPr>
      </p:pic>
      <p:pic>
        <p:nvPicPr>
          <p:cNvPr id="11" name="Picture 10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1E4EBD70-A29C-AB8E-D76B-A587BF01C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9855" y="3838324"/>
            <a:ext cx="5672929" cy="2214872"/>
          </a:xfrm>
          <a:prstGeom prst="rect">
            <a:avLst/>
          </a:prstGeom>
        </p:spPr>
      </p:pic>
      <p:pic>
        <p:nvPicPr>
          <p:cNvPr id="13" name="Picture 12" descr="A screenshot of a computer error&#10;&#10;Description automatically generated">
            <a:extLst>
              <a:ext uri="{FF2B5EF4-FFF2-40B4-BE49-F238E27FC236}">
                <a16:creationId xmlns:a16="http://schemas.microsoft.com/office/drawing/2014/main" id="{0B747524-0ACE-E239-80FF-FF1C85F083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7556" y="4010865"/>
            <a:ext cx="4259387" cy="2200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0718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9BFEE-5908-807F-D56A-DFB1FDC8E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oveBimlFiles2Includ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74A79F-3550-9B25-AD42-8955B0740B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3C71F8-79DD-FD74-0844-51F9AD47DE7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sz="1800" dirty="0"/>
              <a:t>Usage MoveBimlFiles2Include </a:t>
            </a:r>
            <a:r>
              <a:rPr lang="en-US" sz="1800" dirty="0" err="1"/>
              <a:t>input.biml</a:t>
            </a:r>
            <a:r>
              <a:rPr lang="en-US" sz="1800" dirty="0"/>
              <a:t>  [</a:t>
            </a:r>
            <a:r>
              <a:rPr lang="en-US" sz="1800" dirty="0" err="1"/>
              <a:t>result.biml</a:t>
            </a:r>
            <a:r>
              <a:rPr lang="en-US" sz="1800" dirty="0"/>
              <a:t>]</a:t>
            </a:r>
          </a:p>
          <a:p>
            <a:r>
              <a:rPr lang="en-US" sz="1800" dirty="0"/>
              <a:t>To improve readability all files are moved to includes. And the included </a:t>
            </a:r>
            <a:r>
              <a:rPr lang="en-US" sz="1800" dirty="0" err="1"/>
              <a:t>vb</a:t>
            </a:r>
            <a:r>
              <a:rPr lang="en-US" sz="1800" dirty="0"/>
              <a:t> and cs files placed in the same folder as the written </a:t>
            </a:r>
            <a:r>
              <a:rPr lang="en-US" sz="1800" dirty="0" err="1"/>
              <a:t>biml</a:t>
            </a:r>
            <a:r>
              <a:rPr lang="en-US" sz="1800" dirty="0"/>
              <a:t> file.</a:t>
            </a:r>
          </a:p>
          <a:p>
            <a:r>
              <a:rPr lang="en-US" sz="1800" dirty="0"/>
              <a:t>With only one argument the input BIML file will be replaced otherwise written to a file using the second argument.</a:t>
            </a:r>
          </a:p>
          <a:p>
            <a:r>
              <a:rPr lang="en-US" sz="1800" dirty="0"/>
              <a:t>NOTE: already existing files or multiple identical files will be extracted only once. Can be used to detect (accidental reversal to) default templates.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BAC0A0-2353-53BD-A33F-CC8B74B67D15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B28E9D-C294-C47A-7D50-379BFBB0FA6D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8E5AD2-491D-32EB-26F2-6B4CA4F32706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8" name="Picture 7" descr="A screen shot of a computer program&#10;&#10;Description automatically generated">
            <a:extLst>
              <a:ext uri="{FF2B5EF4-FFF2-40B4-BE49-F238E27FC236}">
                <a16:creationId xmlns:a16="http://schemas.microsoft.com/office/drawing/2014/main" id="{AFD365FC-4A2E-4075-A668-01DA7D2373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91" y="3719425"/>
            <a:ext cx="5672929" cy="2214872"/>
          </a:xfrm>
          <a:prstGeom prst="rect">
            <a:avLst/>
          </a:prstGeom>
        </p:spPr>
      </p:pic>
      <p:pic>
        <p:nvPicPr>
          <p:cNvPr id="10" name="Picture 9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501789E2-14F7-2C48-6BB0-ADCDC6AEA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0160" y="3893548"/>
            <a:ext cx="5672929" cy="197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047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53C08-27FA-89B6-3FC4-F047A3B72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/>
              <a:t>BimlRemoveDedu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0E3139-2369-269E-3602-C551314243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0BB228-603D-DFEC-BD4C-7AE5B154337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sz="1800" dirty="0"/>
              <a:t>Usage </a:t>
            </a:r>
            <a:r>
              <a:rPr lang="en-US" sz="1800" dirty="0" err="1"/>
              <a:t>BimlRemoveDedup</a:t>
            </a:r>
            <a:r>
              <a:rPr lang="en-US" sz="1800" dirty="0"/>
              <a:t> </a:t>
            </a:r>
            <a:r>
              <a:rPr lang="en-US" sz="1800" dirty="0" err="1"/>
              <a:t>input.biml</a:t>
            </a:r>
            <a:r>
              <a:rPr lang="en-US" sz="1800" dirty="0"/>
              <a:t>  [</a:t>
            </a:r>
            <a:r>
              <a:rPr lang="en-US" sz="1800" dirty="0" err="1"/>
              <a:t>result.biml</a:t>
            </a:r>
            <a:r>
              <a:rPr lang="en-US" sz="1800" dirty="0"/>
              <a:t>]</a:t>
            </a:r>
          </a:p>
          <a:p>
            <a:r>
              <a:rPr lang="en-US" sz="1800" dirty="0" err="1"/>
              <a:t>Biml</a:t>
            </a:r>
            <a:r>
              <a:rPr lang="en-US" sz="1800" dirty="0"/>
              <a:t> sometimes renames (e.g. on re-exports) identifiers by attaching numbers. This little tool reverses that and deletes multiple connections.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96083E-F4B2-BFE6-EF77-C90DFAC78AA4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BE473-ACD4-BAA2-F13C-D5F8A2AD974A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1DA7DB-9391-C2D1-D65A-22656E23035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723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7C1EE-8797-26E8-4820-9FC168389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estions?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CBBDF3-79B1-BCAA-A8C7-047B4ABD78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25C18F-096B-CD71-1639-A9F6B76793B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06F4CF-D344-18B1-3699-47FD4467F8EB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0084E3-243B-1AED-18FB-BAF119C702AF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E55632-7F14-DB71-9D54-6DE5540549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1583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59C95-8547-5625-965A-6370A1702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Thanks for your attentio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75845-5E2B-4EB3-DC57-4BE24452CD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GB" dirty="0">
                <a:latin typeface="Arial" panose="020B0604020202020204" pitchFamily="34" charset="0"/>
              </a:rPr>
              <a:t>Upgrade SSIS packages safel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14E720-F429-6D73-F314-37E414C0F82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GB" dirty="0"/>
              <a:t>Have a nice day!</a:t>
            </a:r>
          </a:p>
          <a:p>
            <a:r>
              <a:rPr lang="en-US" dirty="0">
                <a:hlinkClick r:id="rId2"/>
              </a:rPr>
              <a:t>arbar@vestas.com</a:t>
            </a:r>
            <a:r>
              <a:rPr lang="en-US" dirty="0"/>
              <a:t> </a:t>
            </a:r>
          </a:p>
          <a:p>
            <a:r>
              <a:rPr lang="en-US" dirty="0">
                <a:hlinkClick r:id="rId3"/>
              </a:rPr>
              <a:t>arne.bartels@posteo.net</a:t>
            </a:r>
            <a:r>
              <a:rPr lang="en-US" dirty="0"/>
              <a:t> </a:t>
            </a:r>
          </a:p>
          <a:p>
            <a:r>
              <a:rPr lang="da-DK" i="0" dirty="0">
                <a:effectLst/>
                <a:hlinkClick r:id="rId4"/>
              </a:rPr>
              <a:t>linkedin.com/in/arne-bartels-03b66b59</a:t>
            </a:r>
            <a:endParaRPr lang="da-DK" i="0" dirty="0">
              <a:effectLst/>
            </a:endParaRPr>
          </a:p>
          <a:p>
            <a:r>
              <a:rPr lang="en-US" dirty="0" err="1">
                <a:hlinkClick r:id="rId5"/>
              </a:rPr>
              <a:t>bartelsarne</a:t>
            </a:r>
            <a:r>
              <a:rPr lang="en-US" dirty="0">
                <a:hlinkClick r:id="rId5"/>
              </a:rPr>
              <a:t>/</a:t>
            </a:r>
            <a:r>
              <a:rPr lang="en-US" dirty="0" err="1">
                <a:hlinkClick r:id="rId5"/>
              </a:rPr>
              <a:t>DataSaturdayArneBartels</a:t>
            </a:r>
            <a:r>
              <a:rPr lang="en-US" dirty="0">
                <a:hlinkClick r:id="rId5"/>
              </a:rPr>
              <a:t> (github.com)</a:t>
            </a:r>
            <a:r>
              <a:rPr lang="da-DK" i="0" dirty="0">
                <a:effectLst/>
              </a:rPr>
              <a:t> (brand new still </a:t>
            </a:r>
            <a:r>
              <a:rPr lang="da-DK" i="0" dirty="0" err="1">
                <a:effectLst/>
              </a:rPr>
              <a:t>empty</a:t>
            </a:r>
            <a:r>
              <a:rPr lang="da-DK" i="0" dirty="0">
                <a:effectLst/>
              </a:rPr>
              <a:t>)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86D793-1576-E166-5FE9-12DEF8D0D8A6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C97CFC-E8EA-1ADE-09D4-6E3E6F6CE665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D662B2-326A-7877-E390-22CF12CCCB99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4325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648668-72EC-B84A-CF41-78CB99E439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141866"/>
          </a:xfrm>
        </p:spPr>
        <p:txBody>
          <a:bodyPr/>
          <a:lstStyle/>
          <a:p>
            <a:r>
              <a:rPr lang="sv-SE" dirty="0"/>
              <a:t>Data </a:t>
            </a:r>
            <a:r>
              <a:rPr lang="sv-SE" dirty="0" err="1"/>
              <a:t>Saturday</a:t>
            </a:r>
            <a:r>
              <a:rPr lang="sv-SE" dirty="0"/>
              <a:t> 2025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1EDBABA1-4495-4312-255E-3EC57EC4C19C}"/>
              </a:ext>
            </a:extLst>
          </p:cNvPr>
          <p:cNvSpPr txBox="1">
            <a:spLocks/>
          </p:cNvSpPr>
          <p:nvPr/>
        </p:nvSpPr>
        <p:spPr>
          <a:xfrm>
            <a:off x="1404257" y="2264229"/>
            <a:ext cx="9144000" cy="11418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6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eptember 6.</a:t>
            </a:r>
          </a:p>
        </p:txBody>
      </p:sp>
    </p:spTree>
    <p:extLst>
      <p:ext uri="{BB962C8B-B14F-4D97-AF65-F5344CB8AC3E}">
        <p14:creationId xmlns:p14="http://schemas.microsoft.com/office/powerpoint/2010/main" val="872838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3">
            <a:extLst>
              <a:ext uri="{FF2B5EF4-FFF2-40B4-BE49-F238E27FC236}">
                <a16:creationId xmlns:a16="http://schemas.microsoft.com/office/drawing/2014/main" id="{7B6ECFC8-D962-81BC-8CD8-9E0404E25B1B}"/>
              </a:ext>
            </a:extLst>
          </p:cNvPr>
          <p:cNvSpPr txBox="1"/>
          <p:nvPr/>
        </p:nvSpPr>
        <p:spPr>
          <a:xfrm>
            <a:off x="0" y="366420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sv-SE" sz="48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turday</a:t>
            </a:r>
            <a:r>
              <a:rPr kumimoji="0" lang="sv-SE" sz="4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othenburg 2024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4DEFE1A2-D309-13ED-8FEF-45BF7CFE4747}"/>
              </a:ext>
            </a:extLst>
          </p:cNvPr>
          <p:cNvSpPr txBox="1"/>
          <p:nvPr/>
        </p:nvSpPr>
        <p:spPr>
          <a:xfrm>
            <a:off x="0" y="1197417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nsors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25D87688-2C1D-CC29-07BE-0E9F33D776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271" y="2011777"/>
            <a:ext cx="2847038" cy="2447453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66C0E78F-5E57-44E8-1A2D-E435DDB36C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0389" y="3107484"/>
            <a:ext cx="1464479" cy="1642407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43BFEBBE-BC81-EE8B-9C5A-85333ED88EC4}"/>
              </a:ext>
            </a:extLst>
          </p:cNvPr>
          <p:cNvSpPr txBox="1"/>
          <p:nvPr/>
        </p:nvSpPr>
        <p:spPr>
          <a:xfrm>
            <a:off x="5458464" y="3793671"/>
            <a:ext cx="24009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party sponsor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63CC983B-87A9-E1A1-DCB8-D2EC93CAAC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336" y="6214734"/>
            <a:ext cx="1664079" cy="457304"/>
          </a:xfrm>
          <a:prstGeom prst="rect">
            <a:avLst/>
          </a:prstGeom>
        </p:spPr>
      </p:pic>
      <p:pic>
        <p:nvPicPr>
          <p:cNvPr id="8" name="Bildobjekt 7" descr="En bild som visar röd, Grafik, Karmin, design&#10;&#10;Automatiskt genererad beskrivning">
            <a:extLst>
              <a:ext uri="{FF2B5EF4-FFF2-40B4-BE49-F238E27FC236}">
                <a16:creationId xmlns:a16="http://schemas.microsoft.com/office/drawing/2014/main" id="{3B4639CF-F594-D639-81A7-3B0A25C56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53" y="2805600"/>
            <a:ext cx="3586752" cy="859809"/>
          </a:xfrm>
          <a:prstGeom prst="rect">
            <a:avLst/>
          </a:prstGeom>
        </p:spPr>
      </p:pic>
      <p:pic>
        <p:nvPicPr>
          <p:cNvPr id="12" name="Bildobjekt 11" descr="En bild som visar svart, mörker&#10;&#10;Automatiskt genererad beskrivning">
            <a:extLst>
              <a:ext uri="{FF2B5EF4-FFF2-40B4-BE49-F238E27FC236}">
                <a16:creationId xmlns:a16="http://schemas.microsoft.com/office/drawing/2014/main" id="{095F5C9C-4F9C-985A-DA14-6DD6AC5F85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74" y="4459230"/>
            <a:ext cx="4045212" cy="1330137"/>
          </a:xfrm>
          <a:prstGeom prst="rect">
            <a:avLst/>
          </a:prstGeom>
        </p:spPr>
      </p:pic>
      <p:pic>
        <p:nvPicPr>
          <p:cNvPr id="16" name="Bild 15">
            <a:extLst>
              <a:ext uri="{FF2B5EF4-FFF2-40B4-BE49-F238E27FC236}">
                <a16:creationId xmlns:a16="http://schemas.microsoft.com/office/drawing/2014/main" id="{F7720950-5BCF-4931-E663-312FBD0AF6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52357" y="4967968"/>
            <a:ext cx="3200400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115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81A052-3D48-0115-8AA2-BE387ED10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CA33A5-FF25-B4BC-4CE6-D1FB63AAE8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Whoami</a:t>
            </a:r>
            <a:endParaRPr lang="en-GB" dirty="0"/>
          </a:p>
          <a:p>
            <a:r>
              <a:rPr lang="en-GB" dirty="0"/>
              <a:t>Who is Vestas</a:t>
            </a:r>
          </a:p>
          <a:p>
            <a:r>
              <a:rPr lang="en-GB" dirty="0"/>
              <a:t>Upgrade issues</a:t>
            </a:r>
          </a:p>
          <a:p>
            <a:r>
              <a:rPr lang="en-GB" dirty="0"/>
              <a:t>Demos Concepts tools 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930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BDCBE76-7341-42A4-B69C-EDB22B29A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Whoami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DD66-387E-422A-B8B0-A8F6519AF1A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15998" y="827086"/>
            <a:ext cx="11694314" cy="5434566"/>
          </a:xfrm>
        </p:spPr>
        <p:txBody>
          <a:bodyPr/>
          <a:lstStyle/>
          <a:p>
            <a:r>
              <a:rPr lang="en-US" dirty="0"/>
              <a:t>Arne Bartels</a:t>
            </a:r>
          </a:p>
          <a:p>
            <a:r>
              <a:rPr lang="en-US" dirty="0"/>
              <a:t>Lead Datawarehouse Developer</a:t>
            </a:r>
          </a:p>
          <a:p>
            <a:r>
              <a:rPr lang="en-US" dirty="0">
                <a:hlinkClick r:id="rId4"/>
              </a:rPr>
              <a:t>arbar@vestas.com</a:t>
            </a:r>
            <a:r>
              <a:rPr lang="en-US" dirty="0"/>
              <a:t> (work)</a:t>
            </a:r>
          </a:p>
          <a:p>
            <a:r>
              <a:rPr lang="en-US" dirty="0">
                <a:hlinkClick r:id="rId5"/>
              </a:rPr>
              <a:t>arne.bartels@posteo.net</a:t>
            </a:r>
            <a:r>
              <a:rPr lang="en-US" dirty="0"/>
              <a:t> (private)</a:t>
            </a:r>
          </a:p>
          <a:p>
            <a:r>
              <a:rPr lang="da-DK" i="0" dirty="0">
                <a:effectLst/>
                <a:hlinkClick r:id="rId6"/>
              </a:rPr>
              <a:t>linkedin.com/in/arne-bartels-03b66b59</a:t>
            </a:r>
            <a:r>
              <a:rPr lang="da-DK" i="0" dirty="0">
                <a:effectLst/>
              </a:rPr>
              <a:t> (and no </a:t>
            </a:r>
            <a:r>
              <a:rPr lang="da-DK" i="0" dirty="0" err="1">
                <a:effectLst/>
              </a:rPr>
              <a:t>further</a:t>
            </a:r>
            <a:r>
              <a:rPr lang="da-DK" i="0" dirty="0">
                <a:effectLst/>
              </a:rPr>
              <a:t> ”social” media </a:t>
            </a:r>
            <a:r>
              <a:rPr lang="da-DK" i="0" dirty="0" err="1">
                <a:effectLst/>
              </a:rPr>
              <a:t>contacts</a:t>
            </a:r>
            <a:r>
              <a:rPr lang="da-DK" i="0" dirty="0">
                <a:effectLst/>
              </a:rPr>
              <a:t>)</a:t>
            </a:r>
            <a:r>
              <a:rPr lang="en-US" dirty="0"/>
              <a:t> </a:t>
            </a:r>
          </a:p>
          <a:p>
            <a:r>
              <a:rPr lang="en-US" dirty="0" err="1">
                <a:hlinkClick r:id="rId7"/>
              </a:rPr>
              <a:t>bartelsarne</a:t>
            </a:r>
            <a:r>
              <a:rPr lang="en-US" dirty="0">
                <a:hlinkClick r:id="rId7"/>
              </a:rPr>
              <a:t>/</a:t>
            </a:r>
            <a:r>
              <a:rPr lang="en-US" dirty="0" err="1">
                <a:hlinkClick r:id="rId7"/>
              </a:rPr>
              <a:t>DataSaturdayArneBartels</a:t>
            </a:r>
            <a:r>
              <a:rPr lang="en-US" dirty="0">
                <a:hlinkClick r:id="rId7"/>
              </a:rPr>
              <a:t> (github.com)</a:t>
            </a:r>
            <a:r>
              <a:rPr lang="da-DK" i="0" dirty="0">
                <a:effectLst/>
              </a:rPr>
              <a:t> (brand new still </a:t>
            </a:r>
            <a:r>
              <a:rPr lang="da-DK" i="0" dirty="0" err="1">
                <a:effectLst/>
              </a:rPr>
              <a:t>empty</a:t>
            </a:r>
            <a:r>
              <a:rPr lang="da-DK" i="0" dirty="0">
                <a:effectLst/>
              </a:rPr>
              <a:t>)</a:t>
            </a:r>
            <a:endParaRPr lang="en-US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GB" dirty="0"/>
              <a:t>I’m in the wind industry since 2001 and worked in many communication and database technologies spanning from modem connections to Cloud-technology.</a:t>
            </a:r>
          </a:p>
          <a:p>
            <a:pPr marL="0" indent="0">
              <a:buNone/>
            </a:pPr>
            <a:r>
              <a:rPr lang="en-GB" dirty="0"/>
              <a:t>Speaker on some SQL/</a:t>
            </a:r>
            <a:r>
              <a:rPr lang="en-GB" dirty="0" err="1"/>
              <a:t>DataSaturdays</a:t>
            </a:r>
            <a:r>
              <a:rPr lang="en-GB" dirty="0"/>
              <a:t> in Northern-Europe (third time in Gothenburg) on </a:t>
            </a:r>
            <a:r>
              <a:rPr lang="en-GB" dirty="0" err="1"/>
              <a:t>SQLBits</a:t>
            </a:r>
            <a:r>
              <a:rPr lang="en-GB" dirty="0"/>
              <a:t> and on PASS Summit in 2022 and 2023 </a:t>
            </a:r>
          </a:p>
          <a:p>
            <a:pPr marL="0" indent="0">
              <a:buNone/>
            </a:pPr>
            <a:r>
              <a:rPr lang="en-GB" dirty="0"/>
              <a:t>Currently I'm working at Vestas Wind Systems in Aarhus, DK.</a:t>
            </a:r>
            <a:endParaRPr lang="en-US" dirty="0"/>
          </a:p>
          <a:p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3E243F-E059-C96A-C36E-D7E4144796E8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CEFF7F-C44C-33A7-2988-BDEDC7E2C964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7B5481-47EE-0225-B44D-3C08BF7D7CA4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F071714E-D9C1-4FB2-9347-D3561D1CDCAD}" type="datetime4">
              <a:rPr lang="en-GB" smtClean="0"/>
              <a:t>07 September 2024</a:t>
            </a:fld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1191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CFD00-C4AB-978E-17B2-6CE265BDD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is Vestas?</a:t>
            </a:r>
            <a:br>
              <a:rPr lang="en-GB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061377-A61F-7376-ECBC-F217C0BA75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nd Motivation for this presentatio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764E02-270D-096C-066E-846E66865F0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estas is the leading worlds wind turbine manufacturer and wind turbine service company. Currently 50000+ turbines worldwide are under contract and surveillance. For those we need complete and low latency data collection for reporting purposes and e.g. advanced error forecast for servicing purposes. </a:t>
            </a:r>
          </a:p>
          <a:p>
            <a:pPr marL="0" indent="0">
              <a:buNone/>
            </a:pPr>
            <a:r>
              <a:rPr lang="en-GB" dirty="0"/>
              <a:t>Right now, we have an advanced on-prem SQL2019 system using for all data extraction transform and loading. It requires 1200+ SSIS packages with 2500+ active data flows. The system is in existence for 20+ years.</a:t>
            </a:r>
          </a:p>
          <a:p>
            <a:pPr marL="0" indent="0">
              <a:buNone/>
            </a:pPr>
            <a:r>
              <a:rPr lang="en-GB" dirty="0"/>
              <a:t>Therefore, occasionally we need to upgrade from one SQL server version to the next and  considering so many packages and dataflows an efficient upgrade possibility is needed. </a:t>
            </a:r>
          </a:p>
          <a:p>
            <a:pPr marL="0" indent="0">
              <a:buNone/>
            </a:pPr>
            <a:r>
              <a:rPr lang="en-GB" dirty="0"/>
              <a:t>Also, while presenting something else on script automatization this part was a tiny add-on as there was time left, but it actually got most questions and therefore is now its own presentation</a:t>
            </a:r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FFBAED-864B-D1A8-41A0-F24F789A990A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80436-1EFD-9D79-0E4F-C1A4D7E0EC8D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A8605E-CEED-6585-D349-ADD6E7343848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1177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25FF9-D0BA-270E-A330-87711AD65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ort dem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449B3-B947-3A1B-F168-DE8449AD45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Upgrades of SQL version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5491B2-2591-E079-D1BB-6F3F618A0C6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GB" dirty="0"/>
              <a:t>Upgrades happen often normally. Curiously the actual recompile happens when the package is opened in the editor. (Or when uploading?) And </a:t>
            </a:r>
            <a:r>
              <a:rPr lang="en-GB" dirty="0" err="1"/>
              <a:t>TargetFrameworkVersion</a:t>
            </a:r>
            <a:r>
              <a:rPr lang="en-GB" dirty="0"/>
              <a:t> often gets stuck.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0AB9-DAE5-6905-63FF-B97749F7A10E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ECBB3F-35C5-1C8B-19E5-07BDB3D32B22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C2E628-6ECC-C1ED-CC38-FCBDD342E85B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0446DA-86A2-2454-F890-3A17A0685D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637" y="2174017"/>
            <a:ext cx="2514600" cy="285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74E282-A2A6-3E4A-6DE0-E5B47883E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4937" y="2584872"/>
            <a:ext cx="4762500" cy="3238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53641BF-07A5-7713-5BD0-B9474EA308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601" y="3053331"/>
            <a:ext cx="10448925" cy="3905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01234EF-AC11-FA7B-20F7-7F94BDA8E9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277" y="3744650"/>
            <a:ext cx="1657350" cy="4191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01A950A-83BD-378F-6404-030A3111AA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080" y="4605228"/>
            <a:ext cx="10163175" cy="4095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1680B67-5438-EED8-D87C-9F560A11B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599" y="4163750"/>
            <a:ext cx="4762500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346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2B31EB30-AB66-C688-8E00-696C24A412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251" y="2743092"/>
            <a:ext cx="5405031" cy="24643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BE55B87-FBE4-AE2F-DF10-DD8952632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ssu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DF4B2F-8975-F88A-47F0-019DC1C25C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08C6D5-32E6-4D47-47B2-3D4CF99531B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n big projects the upgrade might fail as VS fails due to lack of memory or simila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TargetFrameworkVersion</a:t>
            </a:r>
            <a:r>
              <a:rPr lang="en-GB" dirty="0"/>
              <a:t> might be stuck to the original and leaves scripts impossible to edit (seems to be fixed by now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binary code might disappear, and the package will fail exec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arts of the source code might disappear, and the component/task can’t be ed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source code might disappear and be replaced with the standard template (no errors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9E8733-6153-E5D6-10F6-FAEFD893490B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E7DDCD-A021-C733-B86C-9C3A9CB62360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AEB359-35EF-2486-8D8A-DE731CB71C2C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21898A4D-A728-ADAC-98FA-63FAC06299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8250" y="5674097"/>
            <a:ext cx="4907156" cy="751903"/>
          </a:xfrm>
          <a:prstGeom prst="rect">
            <a:avLst/>
          </a:prstGeom>
        </p:spPr>
      </p:pic>
      <p:pic>
        <p:nvPicPr>
          <p:cNvPr id="11" name="Picture 10" descr="A screenshot of a computer error&#10;&#10;Description automatically generated">
            <a:extLst>
              <a:ext uri="{FF2B5EF4-FFF2-40B4-BE49-F238E27FC236}">
                <a16:creationId xmlns:a16="http://schemas.microsoft.com/office/drawing/2014/main" id="{5C8E2488-56A5-26D9-C701-815D757977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1284" y="3205403"/>
            <a:ext cx="2686919" cy="2193404"/>
          </a:xfrm>
          <a:prstGeom prst="rect">
            <a:avLst/>
          </a:prstGeom>
        </p:spPr>
      </p:pic>
      <p:pic>
        <p:nvPicPr>
          <p:cNvPr id="13" name="Picture 12" descr="A screenshot of a computer error&#10;&#10;Description automatically generated">
            <a:extLst>
              <a:ext uri="{FF2B5EF4-FFF2-40B4-BE49-F238E27FC236}">
                <a16:creationId xmlns:a16="http://schemas.microsoft.com/office/drawing/2014/main" id="{6B9B2C49-B864-C1E8-0F8B-E4248FCD02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8203" y="2442545"/>
            <a:ext cx="2864600" cy="359581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9A149FB-A3CE-E30F-5FC0-CE6D54DE1D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318167"/>
            <a:ext cx="6205367" cy="370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8813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4DB380-41FF-6623-DF7E-15DA462B6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E9EEF6-2F33-4759-B44F-41397ACCBC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C16795-9914-ECD7-1F00-352C090FB16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7062F6-D82B-7476-2550-868046EBB330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E70C02-4227-A121-9A26-7A3EC96E181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243A2D-9334-F416-DD4C-841F4D8A3C9A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52CFE025-D8C5-704E-7694-782316833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95" y="137695"/>
            <a:ext cx="4149557" cy="3544876"/>
          </a:xfrm>
          <a:prstGeom prst="rect">
            <a:avLst/>
          </a:prstGeom>
        </p:spPr>
      </p:pic>
      <p:pic>
        <p:nvPicPr>
          <p:cNvPr id="11" name="Picture 10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7847993E-24F1-B62F-E776-BBECB8681E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7339" y="64979"/>
            <a:ext cx="6982799" cy="1524213"/>
          </a:xfrm>
          <a:prstGeom prst="rect">
            <a:avLst/>
          </a:prstGeom>
        </p:spPr>
      </p:pic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318A13D3-A068-9A8D-1384-385704E2E8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809" y="1910133"/>
            <a:ext cx="7097115" cy="3143689"/>
          </a:xfrm>
          <a:prstGeom prst="rect">
            <a:avLst/>
          </a:prstGeom>
        </p:spPr>
      </p:pic>
      <p:pic>
        <p:nvPicPr>
          <p:cNvPr id="15" name="Picture 1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E1878FEA-A271-8DE2-B16B-FD85374043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5724" y="3544876"/>
            <a:ext cx="3045441" cy="317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626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25FF9-D0BA-270E-A330-87711AD65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ep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449B3-B947-3A1B-F168-DE8449AD45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5491B2-2591-E079-D1BB-6F3F618A0C6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Compiling script components in SSIS package through code - Microsoft Q&amp;A</a:t>
            </a:r>
            <a:endParaRPr lang="en-US" dirty="0"/>
          </a:p>
          <a:p>
            <a:r>
              <a:rPr lang="en-US" dirty="0" err="1">
                <a:hlinkClick r:id="rId3"/>
              </a:rPr>
              <a:t>c#</a:t>
            </a:r>
            <a:r>
              <a:rPr lang="en-US" dirty="0">
                <a:hlinkClick r:id="rId3"/>
              </a:rPr>
              <a:t> - Script Task on SQL Server works after rebuilt or migration - Stack Overflow</a:t>
            </a:r>
            <a:endParaRPr lang="en-US" dirty="0">
              <a:solidFill>
                <a:srgbClr val="008000"/>
              </a:solidFill>
            </a:endParaRPr>
          </a:p>
          <a:p>
            <a:r>
              <a:rPr lang="en-US" dirty="0"/>
              <a:t>Describe recompiling of script content programmatically</a:t>
            </a:r>
          </a:p>
          <a:p>
            <a:endParaRPr lang="en-US" dirty="0"/>
          </a:p>
          <a:p>
            <a:r>
              <a:rPr lang="en-US" dirty="0">
                <a:hlinkClick r:id="rId4"/>
              </a:rPr>
              <a:t>SSIS script component failing after upgrading from 2016 to 2019 - Microsoft Q&amp;A</a:t>
            </a:r>
            <a:r>
              <a:rPr lang="en-US" dirty="0">
                <a:solidFill>
                  <a:srgbClr val="008000"/>
                </a:solidFill>
              </a:rPr>
              <a:t> </a:t>
            </a:r>
          </a:p>
          <a:p>
            <a:r>
              <a:rPr lang="en-US" dirty="0"/>
              <a:t>suggests programmatically recompiling/</a:t>
            </a:r>
            <a:r>
              <a:rPr lang="en-US" dirty="0" err="1"/>
              <a:t>BimlExpress</a:t>
            </a:r>
            <a:r>
              <a:rPr lang="en-US" dirty="0"/>
              <a:t>/manual recompiling</a:t>
            </a:r>
          </a:p>
          <a:p>
            <a:endParaRPr lang="en-US" dirty="0"/>
          </a:p>
          <a:p>
            <a:r>
              <a:rPr lang="en-US" dirty="0"/>
              <a:t>Regular expression replace  &lt;</a:t>
            </a:r>
            <a:r>
              <a:rPr lang="en-GB" dirty="0" err="1"/>
              <a:t>TargetFrameworkVersion</a:t>
            </a:r>
            <a:r>
              <a:rPr lang="en-GB" dirty="0"/>
              <a:t>&gt;.*&lt;/</a:t>
            </a:r>
            <a:r>
              <a:rPr lang="en-GB" dirty="0" err="1"/>
              <a:t>TargetFrameworkVersion</a:t>
            </a:r>
            <a:r>
              <a:rPr lang="en-GB" dirty="0"/>
              <a:t>&gt; and </a:t>
            </a:r>
            <a:r>
              <a:rPr lang="en-US" dirty="0"/>
              <a:t>&amp;</a:t>
            </a:r>
            <a:r>
              <a:rPr lang="en-US" dirty="0" err="1"/>
              <a:t>lt</a:t>
            </a:r>
            <a:r>
              <a:rPr lang="en-US" dirty="0"/>
              <a:t>;</a:t>
            </a:r>
            <a:r>
              <a:rPr lang="en-GB" dirty="0" err="1"/>
              <a:t>TargetFrameworkVersion&amp;gt</a:t>
            </a:r>
            <a:r>
              <a:rPr lang="en-GB" dirty="0"/>
              <a:t>;.*&amp;</a:t>
            </a:r>
            <a:r>
              <a:rPr lang="en-GB" dirty="0" err="1"/>
              <a:t>lt</a:t>
            </a:r>
            <a:r>
              <a:rPr lang="en-GB" dirty="0"/>
              <a:t>:/</a:t>
            </a:r>
            <a:r>
              <a:rPr lang="en-GB" dirty="0" err="1"/>
              <a:t>TargetFrameworkVersion&amp;gt</a:t>
            </a:r>
            <a:r>
              <a:rPr lang="en-GB" dirty="0"/>
              <a:t>; with nothing in all </a:t>
            </a:r>
            <a:r>
              <a:rPr lang="en-GB" dirty="0" err="1"/>
              <a:t>dtsx</a:t>
            </a:r>
            <a:r>
              <a:rPr lang="en-GB" dirty="0"/>
              <a:t> files.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D10AB9-DAE5-6905-63FF-B97749F7A10E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87DAD8C9-C8E7-4622-8A5D-2EE5EC66ACFD}" type="datetime4">
              <a:rPr lang="en-GB" smtClean="0"/>
              <a:t>07 September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ECBB3F-35C5-1C8B-19E5-07BDB3D32B22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C2E628-6ECC-C1ED-CC38-FCBDD342E85B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AFCB0DEF-0313-43CE-8806-B644FC9EC852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086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8341960|-3468525|-2064878|-9539986|Markido&quot;,&quot;Id&quot;:&quot;5b1660943335303fd076beb9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H6JzsHkAoQVsivdmZ2kA"/>
</p:tagLst>
</file>

<file path=ppt/theme/theme1.xml><?xml version="1.0" encoding="utf-8"?>
<a:theme xmlns:a="http://schemas.openxmlformats.org/drawingml/2006/main" name="Vestas Template">
  <a:themeElements>
    <a:clrScheme name="Vestas 2023">
      <a:dk1>
        <a:srgbClr val="000000"/>
      </a:dk1>
      <a:lt1>
        <a:srgbClr val="FFFFFF"/>
      </a:lt1>
      <a:dk2>
        <a:srgbClr val="1F3144"/>
      </a:dk2>
      <a:lt2>
        <a:srgbClr val="FFFFFF"/>
      </a:lt2>
      <a:accent1>
        <a:srgbClr val="005AFF"/>
      </a:accent1>
      <a:accent2>
        <a:srgbClr val="19736E"/>
      </a:accent2>
      <a:accent3>
        <a:srgbClr val="A2A9B1"/>
      </a:accent3>
      <a:accent4>
        <a:srgbClr val="E17D28"/>
      </a:accent4>
      <a:accent5>
        <a:srgbClr val="1F3144"/>
      </a:accent5>
      <a:accent6>
        <a:srgbClr val="772219"/>
      </a:accent6>
      <a:hlink>
        <a:srgbClr val="005AFF"/>
      </a:hlink>
      <a:folHlink>
        <a:srgbClr val="4BA6F7"/>
      </a:folHlink>
    </a:clrScheme>
    <a:fontScheme name="Vestas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0000" tIns="46800" rIns="90000" bIns="4680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Blue Sky 01">
      <a:srgbClr val="005AFF"/>
    </a:custClr>
    <a:custClr name="Blue Sky 02">
      <a:srgbClr val="4BA6F7"/>
    </a:custClr>
    <a:custClr name="Blue Sky 03">
      <a:srgbClr val="96C8F0"/>
    </a:custClr>
    <a:custClr name="Night Sky">
      <a:srgbClr val="1F3144"/>
    </a:custClr>
    <a:custClr name="Earth Green">
      <a:srgbClr val="19736E"/>
    </a:custClr>
    <a:custClr name="Earth Red">
      <a:srgbClr val="772219"/>
    </a:custClr>
    <a:custClr name="Earth Orange">
      <a:srgbClr val="E17D28"/>
    </a:custClr>
    <a:custClr name="Light Grey">
      <a:srgbClr val="E3E3E5"/>
    </a:custClr>
    <a:custClr name="Medium Grey">
      <a:srgbClr val="A2A9B1"/>
    </a:custClr>
    <a:custClr name="Dark Grey">
      <a:srgbClr val="606D7B"/>
    </a:custClr>
    <a:custClr name="Blue Sky 01 - 75%">
      <a:srgbClr val="4083FF"/>
    </a:custClr>
    <a:custClr name="Blue Sky 02 - 75%">
      <a:srgbClr val="78BCF9"/>
    </a:custClr>
    <a:custClr name="Blue Sky 03 - 75%">
      <a:srgbClr val="B0D6F4"/>
    </a:custClr>
    <a:custClr name="Night Sky - 75%">
      <a:srgbClr val="576573"/>
    </a:custClr>
    <a:custClr name="Earth Green - 75%">
      <a:srgbClr val="269692"/>
    </a:custClr>
    <a:custClr name="Earth Red - 75%">
      <a:srgbClr val="995953"/>
    </a:custClr>
    <a:custClr name="Earth Orange - 75%">
      <a:srgbClr val="E99E5E"/>
    </a:custClr>
    <a:custClr name="Light Grey - 75%">
      <a:srgbClr val="EAECEE"/>
    </a:custClr>
    <a:custClr name="Medium Grey - 75%">
      <a:srgbClr val="B9BFC4"/>
    </a:custClr>
    <a:custClr name="Dark Grey - 75%">
      <a:srgbClr val="88929C"/>
    </a:custClr>
    <a:custClr name="Blue Sky 01 - 50%">
      <a:srgbClr val="80ADFF"/>
    </a:custClr>
    <a:custClr name="Blue Sky 02 - 50%">
      <a:srgbClr val="A5D3FB"/>
    </a:custClr>
    <a:custClr name="Blue Sky 03 - 50%">
      <a:srgbClr val="CBE3F8"/>
    </a:custClr>
    <a:custClr name="Night Sky - 50%">
      <a:srgbClr val="8F98A1"/>
    </a:custClr>
    <a:custClr name="Earth Green - 50%">
      <a:srgbClr val="8CB9B7"/>
    </a:custClr>
    <a:custClr name="Earth Red - 50%">
      <a:srgbClr val="BB91AA"/>
    </a:custClr>
    <a:custClr name="Earth Orange - 50%">
      <a:srgbClr val="F0BE93"/>
    </a:custClr>
    <a:custClr name="Light Grey - 50%">
      <a:srgbClr val="F1F2F3"/>
    </a:custClr>
    <a:custClr name="Medium Grey - 50%">
      <a:srgbClr val="D1D4D8"/>
    </a:custClr>
    <a:custClr name="Dark Grey - 50%">
      <a:srgbClr val="B0B6BD"/>
    </a:custClr>
    <a:custClr name="Blue Sky 01 - 25%">
      <a:srgbClr val="BFD6FF"/>
    </a:custClr>
    <a:custClr name="Blue Sky 02 - 25%">
      <a:srgbClr val="D2E9FD"/>
    </a:custClr>
    <a:custClr name="Blue Sky 03 - 25%">
      <a:srgbClr val="E5F1FB"/>
    </a:custClr>
    <a:custClr name="Night Sky - 25%">
      <a:srgbClr val="C7CCD0"/>
    </a:custClr>
    <a:custClr name="Earth Green - 25%">
      <a:srgbClr val="C6DCDB"/>
    </a:custClr>
    <a:custClr name="Earth Red - 25%">
      <a:srgbClr val="DDC8C6"/>
    </a:custClr>
    <a:custClr name="Earth Orange - 25%">
      <a:srgbClr val="F8DFC9"/>
    </a:custClr>
    <a:custClr name="Light Grey - 25%">
      <a:srgbClr val="F8F9F9"/>
    </a:custClr>
    <a:custClr name="Medium Grey - 25%">
      <a:srgbClr val="E8EAEC"/>
    </a:custClr>
    <a:custClr name="Dark Grey - 25%">
      <a:srgbClr val="D7DBDE"/>
    </a:custClr>
    <a:custClr name="Black">
      <a:srgbClr val="231F2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Blank.potx" id="{DA9E519D-246B-431E-888B-DC13E2465F3A}" vid="{0AC02CD2-57F7-4ADC-BFF3-065F3B49ACD9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ajorFont>
      <a:min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 Sky 01">
      <a:srgbClr val="005AFF"/>
    </a:custClr>
    <a:custClr name="Blue Sky 02">
      <a:srgbClr val="4BA6F7"/>
    </a:custClr>
    <a:custClr name="Blue Sky 03">
      <a:srgbClr val="96C8F0"/>
    </a:custClr>
    <a:custClr name="Night Sky">
      <a:srgbClr val="1F3144"/>
    </a:custClr>
    <a:custClr name="Earth Green">
      <a:srgbClr val="19736E"/>
    </a:custClr>
    <a:custClr name="Earth Red">
      <a:srgbClr val="772219"/>
    </a:custClr>
    <a:custClr name="Earth Orange">
      <a:srgbClr val="E17D28"/>
    </a:custClr>
    <a:custClr name="Light Grey">
      <a:srgbClr val="E3E3E5"/>
    </a:custClr>
    <a:custClr name="Medium Grey">
      <a:srgbClr val="A2A9B1"/>
    </a:custClr>
    <a:custClr name="Dark Grey">
      <a:srgbClr val="606D7B"/>
    </a:custClr>
    <a:custClr name="Blue Sky 01 - 75%">
      <a:srgbClr val="4083FF"/>
    </a:custClr>
    <a:custClr name="Blue Sky 02 - 75%">
      <a:srgbClr val="78BCF9"/>
    </a:custClr>
    <a:custClr name="Blue Sky 03 - 75%">
      <a:srgbClr val="B0D6F4"/>
    </a:custClr>
    <a:custClr name="Night Sky - 75%">
      <a:srgbClr val="576573"/>
    </a:custClr>
    <a:custClr name="Earth Green - 75%">
      <a:srgbClr val="269692"/>
    </a:custClr>
    <a:custClr name="Earth Red - 75%">
      <a:srgbClr val="995953"/>
    </a:custClr>
    <a:custClr name="Earth Orange - 75%">
      <a:srgbClr val="E99E5E"/>
    </a:custClr>
    <a:custClr name="Light Grey - 75%">
      <a:srgbClr val="EAECEE"/>
    </a:custClr>
    <a:custClr name="Medium Grey - 75%">
      <a:srgbClr val="B9BFC4"/>
    </a:custClr>
    <a:custClr name="Dark Grey - 75%">
      <a:srgbClr val="88929C"/>
    </a:custClr>
    <a:custClr name="Blue Sky 01 - 50%">
      <a:srgbClr val="80ADFF"/>
    </a:custClr>
    <a:custClr name="Blue Sky 02 - 50%">
      <a:srgbClr val="A5D3FB"/>
    </a:custClr>
    <a:custClr name="Blue Sky 03 - 50%">
      <a:srgbClr val="CBE3F8"/>
    </a:custClr>
    <a:custClr name="Night Sky - 50%">
      <a:srgbClr val="8F98A1"/>
    </a:custClr>
    <a:custClr name="Earth Green - 50%">
      <a:srgbClr val="8CB9B7"/>
    </a:custClr>
    <a:custClr name="Earth Red - 50%">
      <a:srgbClr val="BB91AA"/>
    </a:custClr>
    <a:custClr name="Earth Orange - 50%">
      <a:srgbClr val="F0BE93"/>
    </a:custClr>
    <a:custClr name="Light Grey - 50%">
      <a:srgbClr val="F1F2F3"/>
    </a:custClr>
    <a:custClr name="Medium Grey - 50%">
      <a:srgbClr val="D1D4D8"/>
    </a:custClr>
    <a:custClr name="Dark Grey - 50%">
      <a:srgbClr val="B0B6BD"/>
    </a:custClr>
    <a:custClr name="Blue Sky 01 - 25%">
      <a:srgbClr val="BFD6FF"/>
    </a:custClr>
    <a:custClr name="Blue Sky 02 - 25%">
      <a:srgbClr val="D2E9FD"/>
    </a:custClr>
    <a:custClr name="Blue Sky 03 - 25%">
      <a:srgbClr val="E5F1FB"/>
    </a:custClr>
    <a:custClr name="Night Sky - 25%">
      <a:srgbClr val="C7CCD0"/>
    </a:custClr>
    <a:custClr name="Earth Green - 25%">
      <a:srgbClr val="C6DCDB"/>
    </a:custClr>
    <a:custClr name="Earth Red - 25%">
      <a:srgbClr val="DDC8C6"/>
    </a:custClr>
    <a:custClr name="Earth Orange - 25%">
      <a:srgbClr val="F8DFC9"/>
    </a:custClr>
    <a:custClr name="Light Grey - 25%">
      <a:srgbClr val="F8F9F9"/>
    </a:custClr>
    <a:custClr name="Medium Grey - 25%">
      <a:srgbClr val="E8EAEC"/>
    </a:custClr>
    <a:custClr name="Dark Grey - 25%">
      <a:srgbClr val="D7DBDE"/>
    </a:custClr>
    <a:custClr name="Black">
      <a:srgbClr val="231F2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ajorFont>
      <a:min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  <a:font script="Armn" typeface="Arial"/>
        <a:font script="Bugi" typeface="Arial"/>
        <a:font script="Bopo" typeface="Arial"/>
        <a:font script="Java" typeface="Arial"/>
        <a:font script="Lisu" typeface="Arial"/>
        <a:font script="Mymr" typeface="Arial"/>
        <a:font script="Nkoo" typeface="Arial"/>
        <a:font script="Olck" typeface="Arial"/>
        <a:font script="Osma" typeface="Arial"/>
        <a:font script="Phag" typeface="Arial"/>
        <a:font script="Syrn" typeface="Arial"/>
        <a:font script="Syrj" typeface="Arial"/>
        <a:font script="Syre" typeface="Arial"/>
        <a:font script="Sora" typeface="Arial"/>
        <a:font script="Tale" typeface="Arial"/>
        <a:font script="Talu" typeface="Arial"/>
        <a:font script="Tfng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 Sky 01">
      <a:srgbClr val="005AFF"/>
    </a:custClr>
    <a:custClr name="Blue Sky 02">
      <a:srgbClr val="4BA6F7"/>
    </a:custClr>
    <a:custClr name="Blue Sky 03">
      <a:srgbClr val="96C8F0"/>
    </a:custClr>
    <a:custClr name="Night Sky">
      <a:srgbClr val="1F3144"/>
    </a:custClr>
    <a:custClr name="Earth Green">
      <a:srgbClr val="19736E"/>
    </a:custClr>
    <a:custClr name="Earth Red">
      <a:srgbClr val="772219"/>
    </a:custClr>
    <a:custClr name="Earth Orange">
      <a:srgbClr val="E17D28"/>
    </a:custClr>
    <a:custClr name="Light Grey">
      <a:srgbClr val="E3E3E5"/>
    </a:custClr>
    <a:custClr name="Medium Grey">
      <a:srgbClr val="A2A9B1"/>
    </a:custClr>
    <a:custClr name="Dark Grey">
      <a:srgbClr val="606D7B"/>
    </a:custClr>
    <a:custClr name="Blue Sky 01 - 75%">
      <a:srgbClr val="4083FF"/>
    </a:custClr>
    <a:custClr name="Blue Sky 02 - 75%">
      <a:srgbClr val="78BCF9"/>
    </a:custClr>
    <a:custClr name="Blue Sky 03 - 75%">
      <a:srgbClr val="B0D6F4"/>
    </a:custClr>
    <a:custClr name="Night Sky - 75%">
      <a:srgbClr val="576573"/>
    </a:custClr>
    <a:custClr name="Earth Green - 75%">
      <a:srgbClr val="269692"/>
    </a:custClr>
    <a:custClr name="Earth Red - 75%">
      <a:srgbClr val="995953"/>
    </a:custClr>
    <a:custClr name="Earth Orange - 75%">
      <a:srgbClr val="E99E5E"/>
    </a:custClr>
    <a:custClr name="Light Grey - 75%">
      <a:srgbClr val="EAECEE"/>
    </a:custClr>
    <a:custClr name="Medium Grey - 75%">
      <a:srgbClr val="B9BFC4"/>
    </a:custClr>
    <a:custClr name="Dark Grey - 75%">
      <a:srgbClr val="88929C"/>
    </a:custClr>
    <a:custClr name="Blue Sky 01 - 50%">
      <a:srgbClr val="80ADFF"/>
    </a:custClr>
    <a:custClr name="Blue Sky 02 - 50%">
      <a:srgbClr val="A5D3FB"/>
    </a:custClr>
    <a:custClr name="Blue Sky 03 - 50%">
      <a:srgbClr val="CBE3F8"/>
    </a:custClr>
    <a:custClr name="Night Sky - 50%">
      <a:srgbClr val="8F98A1"/>
    </a:custClr>
    <a:custClr name="Earth Green - 50%">
      <a:srgbClr val="8CB9B7"/>
    </a:custClr>
    <a:custClr name="Earth Red - 50%">
      <a:srgbClr val="BB91AA"/>
    </a:custClr>
    <a:custClr name="Earth Orange - 50%">
      <a:srgbClr val="F0BE93"/>
    </a:custClr>
    <a:custClr name="Light Grey - 50%">
      <a:srgbClr val="F1F2F3"/>
    </a:custClr>
    <a:custClr name="Medium Grey - 50%">
      <a:srgbClr val="D1D4D8"/>
    </a:custClr>
    <a:custClr name="Dark Grey - 50%">
      <a:srgbClr val="B0B6BD"/>
    </a:custClr>
    <a:custClr name="Blue Sky 01 - 25%">
      <a:srgbClr val="BFD6FF"/>
    </a:custClr>
    <a:custClr name="Blue Sky 02 - 25%">
      <a:srgbClr val="D2E9FD"/>
    </a:custClr>
    <a:custClr name="Blue Sky 03 - 25%">
      <a:srgbClr val="E5F1FB"/>
    </a:custClr>
    <a:custClr name="Night Sky - 25%">
      <a:srgbClr val="C7CCD0"/>
    </a:custClr>
    <a:custClr name="Earth Green - 25%">
      <a:srgbClr val="C6DCDB"/>
    </a:custClr>
    <a:custClr name="Earth Red - 25%">
      <a:srgbClr val="DDC8C6"/>
    </a:custClr>
    <a:custClr name="Earth Orange - 25%">
      <a:srgbClr val="F8DFC9"/>
    </a:custClr>
    <a:custClr name="Light Grey - 25%">
      <a:srgbClr val="F8F9F9"/>
    </a:custClr>
    <a:custClr name="Medium Grey - 25%">
      <a:srgbClr val="E8EAEC"/>
    </a:custClr>
    <a:custClr name="Dark Grey - 25%">
      <a:srgbClr val="D7DBDE"/>
    </a:custClr>
    <a:custClr name="Black">
      <a:srgbClr val="231F2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TemplafyTemplateConfiguration><![CDATA[{"elementsMetadata":[],"transformationConfigurations":[],"templateName":"Vestas Default PPT Templates Q2 2024","templateDescription":"","enableDocumentContentUpdater":false,"version":"2.0"}]]></Templafy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922831594778525696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],"slideId":"922831594778525700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7BACF226-81BB-45AB-A42D-C96E3654751E}">
  <ds:schemaRefs/>
</ds:datastoreItem>
</file>

<file path=customXml/itemProps2.xml><?xml version="1.0" encoding="utf-8"?>
<ds:datastoreItem xmlns:ds="http://schemas.openxmlformats.org/officeDocument/2006/customXml" ds:itemID="{D44BDDCD-A5E7-4178-9F69-13483A53C38B}">
  <ds:schemaRefs/>
</ds:datastoreItem>
</file>

<file path=customXml/itemProps3.xml><?xml version="1.0" encoding="utf-8"?>
<ds:datastoreItem xmlns:ds="http://schemas.openxmlformats.org/officeDocument/2006/customXml" ds:itemID="{4345A5F6-DB14-4262-8F89-983CF2F5EF75}">
  <ds:schemaRefs/>
</ds:datastoreItem>
</file>

<file path=customXml/itemProps4.xml><?xml version="1.0" encoding="utf-8"?>
<ds:datastoreItem xmlns:ds="http://schemas.openxmlformats.org/officeDocument/2006/customXml" ds:itemID="{63E8377D-8569-44DB-B12F-8AB0CEC3C5AA}">
  <ds:schemaRefs/>
</ds:datastoreItem>
</file>

<file path=customXml/itemProps5.xml><?xml version="1.0" encoding="utf-8"?>
<ds:datastoreItem xmlns:ds="http://schemas.openxmlformats.org/officeDocument/2006/customXml" ds:itemID="{CF85CE21-C346-4D44-958A-834C943DA776}">
  <ds:schemaRefs/>
</ds:datastoreItem>
</file>

<file path=customXml/itemProps6.xml><?xml version="1.0" encoding="utf-8"?>
<ds:datastoreItem xmlns:ds="http://schemas.openxmlformats.org/officeDocument/2006/customXml" ds:itemID="{592AC887-0C51-4DA0-9901-4B4FD6DBAAB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15</Words>
  <Application>Microsoft Office PowerPoint</Application>
  <PresentationFormat>Widescreen</PresentationFormat>
  <Paragraphs>108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alibri Light</vt:lpstr>
      <vt:lpstr>Vestas Template</vt:lpstr>
      <vt:lpstr>Office-tema</vt:lpstr>
      <vt:lpstr>think-cell Slide</vt:lpstr>
      <vt:lpstr>Upgrade SSIS packages safely</vt:lpstr>
      <vt:lpstr>PowerPoint Presentation</vt:lpstr>
      <vt:lpstr>Agenda</vt:lpstr>
      <vt:lpstr>Whoami</vt:lpstr>
      <vt:lpstr>Who is Vestas? </vt:lpstr>
      <vt:lpstr>Short demo</vt:lpstr>
      <vt:lpstr>Issues</vt:lpstr>
      <vt:lpstr>PowerPoint Presentation</vt:lpstr>
      <vt:lpstr>Concepts</vt:lpstr>
      <vt:lpstr>TOOLS</vt:lpstr>
      <vt:lpstr> </vt:lpstr>
      <vt:lpstr>BIML tools: “just” create a copy in Biml and recreate if needed</vt:lpstr>
      <vt:lpstr>MoveBimlFiles2Include</vt:lpstr>
      <vt:lpstr>BimlRemoveDedup</vt:lpstr>
      <vt:lpstr>Questions?</vt:lpstr>
      <vt:lpstr>Thanks for your attention</vt:lpstr>
      <vt:lpstr>Data Saturday 2025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7-04T07:26:18Z</dcterms:created>
  <dcterms:modified xsi:type="dcterms:W3CDTF">2024-09-07T10:4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59ef8e5-3aaa-41a0-b30c-a77b6f506147_Enabled">
    <vt:lpwstr>true</vt:lpwstr>
  </property>
  <property fmtid="{D5CDD505-2E9C-101B-9397-08002B2CF9AE}" pid="3" name="MSIP_Label_459ef8e5-3aaa-41a0-b30c-a77b6f506147_SetDate">
    <vt:lpwstr>2023-11-07T09:08:51Z</vt:lpwstr>
  </property>
  <property fmtid="{D5CDD505-2E9C-101B-9397-08002B2CF9AE}" pid="4" name="MSIP_Label_459ef8e5-3aaa-41a0-b30c-a77b6f506147_Method">
    <vt:lpwstr>Standard</vt:lpwstr>
  </property>
  <property fmtid="{D5CDD505-2E9C-101B-9397-08002B2CF9AE}" pid="5" name="MSIP_Label_459ef8e5-3aaa-41a0-b30c-a77b6f506147_Name">
    <vt:lpwstr>Internal</vt:lpwstr>
  </property>
  <property fmtid="{D5CDD505-2E9C-101B-9397-08002B2CF9AE}" pid="6" name="MSIP_Label_459ef8e5-3aaa-41a0-b30c-a77b6f506147_SiteId">
    <vt:lpwstr>9343c96b-27bb-4092-add6-977870612481</vt:lpwstr>
  </property>
  <property fmtid="{D5CDD505-2E9C-101B-9397-08002B2CF9AE}" pid="7" name="MSIP_Label_459ef8e5-3aaa-41a0-b30c-a77b6f506147_ActionId">
    <vt:lpwstr>3dc0e9ae-e0a4-4a20-8c1e-08ddbc6b5a79</vt:lpwstr>
  </property>
  <property fmtid="{D5CDD505-2E9C-101B-9397-08002B2CF9AE}" pid="8" name="MSIP_Label_459ef8e5-3aaa-41a0-b30c-a77b6f506147_ContentBits">
    <vt:lpwstr>0</vt:lpwstr>
  </property>
  <property fmtid="{D5CDD505-2E9C-101B-9397-08002B2CF9AE}" pid="9" name="MSIP_Label_35c15001-c8e1-4e59-97bd-905e2080daab_Enabled">
    <vt:lpwstr>true</vt:lpwstr>
  </property>
  <property fmtid="{D5CDD505-2E9C-101B-9397-08002B2CF9AE}" pid="10" name="MSIP_Label_35c15001-c8e1-4e59-97bd-905e2080daab_SetDate">
    <vt:lpwstr>2024-05-24T13:05:09Z</vt:lpwstr>
  </property>
  <property fmtid="{D5CDD505-2E9C-101B-9397-08002B2CF9AE}" pid="11" name="MSIP_Label_35c15001-c8e1-4e59-97bd-905e2080daab_Method">
    <vt:lpwstr>Standard</vt:lpwstr>
  </property>
  <property fmtid="{D5CDD505-2E9C-101B-9397-08002B2CF9AE}" pid="12" name="MSIP_Label_35c15001-c8e1-4e59-97bd-905e2080daab_Name">
    <vt:lpwstr>Confidential</vt:lpwstr>
  </property>
  <property fmtid="{D5CDD505-2E9C-101B-9397-08002B2CF9AE}" pid="13" name="MSIP_Label_35c15001-c8e1-4e59-97bd-905e2080daab_SiteId">
    <vt:lpwstr>c0701940-7b3f-4116-a59f-159078bc3c63</vt:lpwstr>
  </property>
  <property fmtid="{D5CDD505-2E9C-101B-9397-08002B2CF9AE}" pid="14" name="MSIP_Label_35c15001-c8e1-4e59-97bd-905e2080daab_ActionId">
    <vt:lpwstr>7dea56c4-a0a7-426f-86be-fce2ceeb5485</vt:lpwstr>
  </property>
  <property fmtid="{D5CDD505-2E9C-101B-9397-08002B2CF9AE}" pid="15" name="MSIP_Label_35c15001-c8e1-4e59-97bd-905e2080daab_ContentBits">
    <vt:lpwstr>2</vt:lpwstr>
  </property>
  <property fmtid="{D5CDD505-2E9C-101B-9397-08002B2CF9AE}" pid="16" name="ClassificationContentMarkingFooterLocations">
    <vt:lpwstr>Vestas Template:4</vt:lpwstr>
  </property>
  <property fmtid="{D5CDD505-2E9C-101B-9397-08002B2CF9AE}" pid="17" name="ClassificationContentMarkingFooterText">
    <vt:lpwstr>Classification: Confidential</vt:lpwstr>
  </property>
  <property fmtid="{D5CDD505-2E9C-101B-9397-08002B2CF9AE}" pid="18" name="TemplafyTimeStamp">
    <vt:lpwstr>2024-05-28T10:08:57</vt:lpwstr>
  </property>
  <property fmtid="{D5CDD505-2E9C-101B-9397-08002B2CF9AE}" pid="19" name="TemplafyTenantId">
    <vt:lpwstr>vestas</vt:lpwstr>
  </property>
  <property fmtid="{D5CDD505-2E9C-101B-9397-08002B2CF9AE}" pid="20" name="TemplafyTemplateId">
    <vt:lpwstr>922831586289516798</vt:lpwstr>
  </property>
  <property fmtid="{D5CDD505-2E9C-101B-9397-08002B2CF9AE}" pid="21" name="TemplafyUserProfileId">
    <vt:lpwstr>637819167442899809</vt:lpwstr>
  </property>
  <property fmtid="{D5CDD505-2E9C-101B-9397-08002B2CF9AE}" pid="22" name="TemplafyLanguageCode">
    <vt:lpwstr>en-GB</vt:lpwstr>
  </property>
  <property fmtid="{D5CDD505-2E9C-101B-9397-08002B2CF9AE}" pid="23" name="TemplafyFromBlank">
    <vt:bool>true</vt:bool>
  </property>
</Properties>
</file>